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4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5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76" r:id="rId3"/>
    <p:sldMasterId id="2147483690" r:id="rId4"/>
  </p:sldMasterIdLst>
  <p:notesMasterIdLst>
    <p:notesMasterId r:id="rId19"/>
  </p:notesMasterIdLst>
  <p:sldIdLst>
    <p:sldId id="257" r:id="rId5"/>
    <p:sldId id="2219" r:id="rId6"/>
    <p:sldId id="2275" r:id="rId7"/>
    <p:sldId id="2223" r:id="rId8"/>
    <p:sldId id="2277" r:id="rId9"/>
    <p:sldId id="2272" r:id="rId10"/>
    <p:sldId id="2262" r:id="rId11"/>
    <p:sldId id="2184" r:id="rId12"/>
    <p:sldId id="2212" r:id="rId13"/>
    <p:sldId id="2187" r:id="rId14"/>
    <p:sldId id="2186" r:id="rId15"/>
    <p:sldId id="2276" r:id="rId16"/>
    <p:sldId id="2263" r:id="rId17"/>
    <p:sldId id="2264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870F13-324E-E3B6-6CC8-CFB6EB935E21}" name="Altair Bekturov" initials="AB" userId="S::A.Bekturov@aifc.kz::f1c9077e-fbd1-4d3f-8125-f3628bf5133d" providerId="AD"/>
  <p188:author id="{38B60C66-117D-BD88-3FBF-8491B3187910}" name="Bakhtiyar Abilkassym" initials="BA" userId="S::b.abilkassym@aix.kz::43df8c1d-47d3-4d47-a62d-adb007cbde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B5C8"/>
    <a:srgbClr val="404040"/>
    <a:srgbClr val="B4C7E7"/>
    <a:srgbClr val="002554"/>
    <a:srgbClr val="82C6D8"/>
    <a:srgbClr val="26A6BD"/>
    <a:srgbClr val="BFE1EB"/>
    <a:srgbClr val="00434C"/>
    <a:srgbClr val="00849E"/>
    <a:srgbClr val="8FAA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5B5A2-01C0-4937-8FFC-40872C8371EE}" v="22" dt="2025-01-05T10:14:33.5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ur Karimsakov" userId="ea04722c-9be7-49ff-9a17-c5a9c646d8a7" providerId="ADAL" clId="{CD8730B2-33C8-45A0-B7F3-AFF9A8887409}"/>
    <pc:docChg chg="undo redo custSel addSld delSld modSld sldOrd">
      <pc:chgData name="Timur Karimsakov" userId="ea04722c-9be7-49ff-9a17-c5a9c646d8a7" providerId="ADAL" clId="{CD8730B2-33C8-45A0-B7F3-AFF9A8887409}" dt="2024-07-30T07:29:05.746" v="1312" actId="27918"/>
      <pc:docMkLst>
        <pc:docMk/>
      </pc:docMkLst>
      <pc:sldChg chg="modSp mod">
        <pc:chgData name="Timur Karimsakov" userId="ea04722c-9be7-49ff-9a17-c5a9c646d8a7" providerId="ADAL" clId="{CD8730B2-33C8-45A0-B7F3-AFF9A8887409}" dt="2024-07-29T11:53:10.584" v="239" actId="1035"/>
        <pc:sldMkLst>
          <pc:docMk/>
          <pc:sldMk cId="4078718328" sldId="2184"/>
        </pc:sldMkLst>
        <pc:spChg chg="mod">
          <ac:chgData name="Timur Karimsakov" userId="ea04722c-9be7-49ff-9a17-c5a9c646d8a7" providerId="ADAL" clId="{CD8730B2-33C8-45A0-B7F3-AFF9A8887409}" dt="2024-07-29T11:53:10.584" v="239" actId="1035"/>
          <ac:spMkLst>
            <pc:docMk/>
            <pc:sldMk cId="4078718328" sldId="2184"/>
            <ac:spMk id="20" creationId="{29DC921E-7651-85A7-ACCE-1013554AA275}"/>
          </ac:spMkLst>
        </pc:spChg>
      </pc:sldChg>
      <pc:sldChg chg="modSp mod">
        <pc:chgData name="Timur Karimsakov" userId="ea04722c-9be7-49ff-9a17-c5a9c646d8a7" providerId="ADAL" clId="{CD8730B2-33C8-45A0-B7F3-AFF9A8887409}" dt="2024-07-29T12:01:04.189" v="386" actId="1038"/>
        <pc:sldMkLst>
          <pc:docMk/>
          <pc:sldMk cId="2298565077" sldId="2186"/>
        </pc:sldMkLst>
        <pc:spChg chg="mod">
          <ac:chgData name="Timur Karimsakov" userId="ea04722c-9be7-49ff-9a17-c5a9c646d8a7" providerId="ADAL" clId="{CD8730B2-33C8-45A0-B7F3-AFF9A8887409}" dt="2024-07-29T12:01:04.189" v="386" actId="1038"/>
          <ac:spMkLst>
            <pc:docMk/>
            <pc:sldMk cId="2298565077" sldId="2186"/>
            <ac:spMk id="3" creationId="{8C3A6160-9C69-6208-E6C0-CB81E01F8512}"/>
          </ac:spMkLst>
        </pc:spChg>
      </pc:sldChg>
      <pc:sldChg chg="modSp mod">
        <pc:chgData name="Timur Karimsakov" userId="ea04722c-9be7-49ff-9a17-c5a9c646d8a7" providerId="ADAL" clId="{CD8730B2-33C8-45A0-B7F3-AFF9A8887409}" dt="2024-07-29T11:59:56.970" v="374" actId="14100"/>
        <pc:sldMkLst>
          <pc:docMk/>
          <pc:sldMk cId="1727869833" sldId="2187"/>
        </pc:sldMkLst>
        <pc:spChg chg="mod">
          <ac:chgData name="Timur Karimsakov" userId="ea04722c-9be7-49ff-9a17-c5a9c646d8a7" providerId="ADAL" clId="{CD8730B2-33C8-45A0-B7F3-AFF9A8887409}" dt="2024-07-29T11:58:39.261" v="325" actId="1037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CD8730B2-33C8-45A0-B7F3-AFF9A8887409}" dt="2024-07-29T11:59:56.970" v="374" actId="14100"/>
          <ac:spMkLst>
            <pc:docMk/>
            <pc:sldMk cId="1727869833" sldId="2187"/>
            <ac:spMk id="31" creationId="{1B43C88C-97F7-E43F-2336-6CFB022A3A87}"/>
          </ac:spMkLst>
        </pc:spChg>
      </pc:sldChg>
      <pc:sldChg chg="modSp mod">
        <pc:chgData name="Timur Karimsakov" userId="ea04722c-9be7-49ff-9a17-c5a9c646d8a7" providerId="ADAL" clId="{CD8730B2-33C8-45A0-B7F3-AFF9A8887409}" dt="2024-07-29T11:50:16.816" v="232" actId="1076"/>
        <pc:sldMkLst>
          <pc:docMk/>
          <pc:sldMk cId="2566058658" sldId="2262"/>
        </pc:sldMkLst>
        <pc:spChg chg="mod">
          <ac:chgData name="Timur Karimsakov" userId="ea04722c-9be7-49ff-9a17-c5a9c646d8a7" providerId="ADAL" clId="{CD8730B2-33C8-45A0-B7F3-AFF9A8887409}" dt="2024-07-29T11:49:54.255" v="227" actId="1076"/>
          <ac:spMkLst>
            <pc:docMk/>
            <pc:sldMk cId="2566058658" sldId="2262"/>
            <ac:spMk id="29" creationId="{50AE4A15-9F57-44AA-899F-EB3CD86D6E59}"/>
          </ac:spMkLst>
        </pc:spChg>
        <pc:spChg chg="mod">
          <ac:chgData name="Timur Karimsakov" userId="ea04722c-9be7-49ff-9a17-c5a9c646d8a7" providerId="ADAL" clId="{CD8730B2-33C8-45A0-B7F3-AFF9A8887409}" dt="2024-07-29T11:49:58.013" v="228" actId="1076"/>
          <ac:spMkLst>
            <pc:docMk/>
            <pc:sldMk cId="2566058658" sldId="2262"/>
            <ac:spMk id="30" creationId="{1D331076-3D9C-589E-9C92-D37CFBF5E86F}"/>
          </ac:spMkLst>
        </pc:spChg>
        <pc:spChg chg="mod">
          <ac:chgData name="Timur Karimsakov" userId="ea04722c-9be7-49ff-9a17-c5a9c646d8a7" providerId="ADAL" clId="{CD8730B2-33C8-45A0-B7F3-AFF9A8887409}" dt="2024-07-29T11:50:13.032" v="231" actId="1076"/>
          <ac:spMkLst>
            <pc:docMk/>
            <pc:sldMk cId="2566058658" sldId="2262"/>
            <ac:spMk id="31" creationId="{31A5032B-A80E-2652-04BE-A7D3E6D4EC3C}"/>
          </ac:spMkLst>
        </pc:spChg>
        <pc:spChg chg="mod">
          <ac:chgData name="Timur Karimsakov" userId="ea04722c-9be7-49ff-9a17-c5a9c646d8a7" providerId="ADAL" clId="{CD8730B2-33C8-45A0-B7F3-AFF9A8887409}" dt="2024-07-29T11:50:00.869" v="229" actId="1076"/>
          <ac:spMkLst>
            <pc:docMk/>
            <pc:sldMk cId="2566058658" sldId="2262"/>
            <ac:spMk id="32" creationId="{23DA79C4-C5AA-CB8D-3B59-D6CA95CA6679}"/>
          </ac:spMkLst>
        </pc:spChg>
        <pc:spChg chg="mod">
          <ac:chgData name="Timur Karimsakov" userId="ea04722c-9be7-49ff-9a17-c5a9c646d8a7" providerId="ADAL" clId="{CD8730B2-33C8-45A0-B7F3-AFF9A8887409}" dt="2024-07-29T11:50:07.534" v="230" actId="1076"/>
          <ac:spMkLst>
            <pc:docMk/>
            <pc:sldMk cId="2566058658" sldId="2262"/>
            <ac:spMk id="35" creationId="{0268E12B-EE54-CB5F-0393-744D19CE183A}"/>
          </ac:spMkLst>
        </pc:spChg>
        <pc:spChg chg="mod">
          <ac:chgData name="Timur Karimsakov" userId="ea04722c-9be7-49ff-9a17-c5a9c646d8a7" providerId="ADAL" clId="{CD8730B2-33C8-45A0-B7F3-AFF9A8887409}" dt="2024-07-29T11:50:16.816" v="232" actId="1076"/>
          <ac:spMkLst>
            <pc:docMk/>
            <pc:sldMk cId="2566058658" sldId="2262"/>
            <ac:spMk id="69" creationId="{B877ECC2-2520-FEDB-518D-37474CC4E7F2}"/>
          </ac:spMkLst>
        </pc:spChg>
        <pc:cxnChg chg="mod">
          <ac:chgData name="Timur Karimsakov" userId="ea04722c-9be7-49ff-9a17-c5a9c646d8a7" providerId="ADAL" clId="{CD8730B2-33C8-45A0-B7F3-AFF9A8887409}" dt="2024-07-29T11:49:38.561" v="225" actId="1037"/>
          <ac:cxnSpMkLst>
            <pc:docMk/>
            <pc:sldMk cId="2566058658" sldId="2262"/>
            <ac:cxnSpMk id="37" creationId="{CDDA746B-5AE8-FB5D-FF63-F1AA6F1DF346}"/>
          </ac:cxnSpMkLst>
        </pc:cxnChg>
        <pc:cxnChg chg="mod">
          <ac:chgData name="Timur Karimsakov" userId="ea04722c-9be7-49ff-9a17-c5a9c646d8a7" providerId="ADAL" clId="{CD8730B2-33C8-45A0-B7F3-AFF9A8887409}" dt="2024-07-29T11:48:12.859" v="172" actId="14100"/>
          <ac:cxnSpMkLst>
            <pc:docMk/>
            <pc:sldMk cId="2566058658" sldId="2262"/>
            <ac:cxnSpMk id="38" creationId="{70B18888-9B4F-FC5D-64D1-E8837E49B913}"/>
          </ac:cxnSpMkLst>
        </pc:cxnChg>
        <pc:cxnChg chg="mod">
          <ac:chgData name="Timur Karimsakov" userId="ea04722c-9be7-49ff-9a17-c5a9c646d8a7" providerId="ADAL" clId="{CD8730B2-33C8-45A0-B7F3-AFF9A8887409}" dt="2024-07-29T11:48:35.217" v="179" actId="1037"/>
          <ac:cxnSpMkLst>
            <pc:docMk/>
            <pc:sldMk cId="2566058658" sldId="2262"/>
            <ac:cxnSpMk id="39" creationId="{FDCE8C00-89C1-C6FC-BFCC-31D729F7D731}"/>
          </ac:cxnSpMkLst>
        </pc:cxnChg>
        <pc:cxnChg chg="mod">
          <ac:chgData name="Timur Karimsakov" userId="ea04722c-9be7-49ff-9a17-c5a9c646d8a7" providerId="ADAL" clId="{CD8730B2-33C8-45A0-B7F3-AFF9A8887409}" dt="2024-07-29T11:48:58.387" v="207" actId="1038"/>
          <ac:cxnSpMkLst>
            <pc:docMk/>
            <pc:sldMk cId="2566058658" sldId="2262"/>
            <ac:cxnSpMk id="40" creationId="{6A7C9D59-41CD-95D3-91E8-E2D8BB309606}"/>
          </ac:cxnSpMkLst>
        </pc:cxnChg>
        <pc:cxnChg chg="mod">
          <ac:chgData name="Timur Karimsakov" userId="ea04722c-9be7-49ff-9a17-c5a9c646d8a7" providerId="ADAL" clId="{CD8730B2-33C8-45A0-B7F3-AFF9A8887409}" dt="2024-07-29T11:49:20.521" v="217" actId="1037"/>
          <ac:cxnSpMkLst>
            <pc:docMk/>
            <pc:sldMk cId="2566058658" sldId="2262"/>
            <ac:cxnSpMk id="42" creationId="{39BD2136-7ABC-2A0B-5E7E-C3EEBBECCA16}"/>
          </ac:cxnSpMkLst>
        </pc:cxnChg>
        <pc:cxnChg chg="mod">
          <ac:chgData name="Timur Karimsakov" userId="ea04722c-9be7-49ff-9a17-c5a9c646d8a7" providerId="ADAL" clId="{CD8730B2-33C8-45A0-B7F3-AFF9A8887409}" dt="2024-07-29T11:49:47.892" v="226" actId="14100"/>
          <ac:cxnSpMkLst>
            <pc:docMk/>
            <pc:sldMk cId="2566058658" sldId="2262"/>
            <ac:cxnSpMk id="44" creationId="{BB1D7077-FD00-40C2-1865-C1D0ABD4C5F6}"/>
          </ac:cxnSpMkLst>
        </pc:cxnChg>
      </pc:sldChg>
      <pc:sldChg chg="addSp modSp mod">
        <pc:chgData name="Timur Karimsakov" userId="ea04722c-9be7-49ff-9a17-c5a9c646d8a7" providerId="ADAL" clId="{CD8730B2-33C8-45A0-B7F3-AFF9A8887409}" dt="2024-07-30T06:02:07.947" v="1288" actId="20577"/>
        <pc:sldMkLst>
          <pc:docMk/>
          <pc:sldMk cId="781584985" sldId="2266"/>
        </pc:sldMkLst>
        <pc:spChg chg="mod">
          <ac:chgData name="Timur Karimsakov" userId="ea04722c-9be7-49ff-9a17-c5a9c646d8a7" providerId="ADAL" clId="{CD8730B2-33C8-45A0-B7F3-AFF9A8887409}" dt="2024-07-30T05:51:48.154" v="762" actId="1076"/>
          <ac:spMkLst>
            <pc:docMk/>
            <pc:sldMk cId="781584985" sldId="2266"/>
            <ac:spMk id="5" creationId="{999BDFEB-A206-85C4-0B59-16FA7C6E0FFE}"/>
          </ac:spMkLst>
        </pc:spChg>
        <pc:spChg chg="add mod">
          <ac:chgData name="Timur Karimsakov" userId="ea04722c-9be7-49ff-9a17-c5a9c646d8a7" providerId="ADAL" clId="{CD8730B2-33C8-45A0-B7F3-AFF9A8887409}" dt="2024-07-30T05:51:53.842" v="763" actId="1076"/>
          <ac:spMkLst>
            <pc:docMk/>
            <pc:sldMk cId="781584985" sldId="2266"/>
            <ac:spMk id="6" creationId="{B23BE2FE-552A-E578-0D98-091BCDECCE51}"/>
          </ac:spMkLst>
        </pc:spChg>
        <pc:spChg chg="add mod">
          <ac:chgData name="Timur Karimsakov" userId="ea04722c-9be7-49ff-9a17-c5a9c646d8a7" providerId="ADAL" clId="{CD8730B2-33C8-45A0-B7F3-AFF9A8887409}" dt="2024-07-30T05:59:14.983" v="1159" actId="20577"/>
          <ac:spMkLst>
            <pc:docMk/>
            <pc:sldMk cId="781584985" sldId="2266"/>
            <ac:spMk id="7" creationId="{3D323966-1370-FDC3-37A2-99C21E85F713}"/>
          </ac:spMkLst>
        </pc:spChg>
        <pc:spChg chg="mod">
          <ac:chgData name="Timur Karimsakov" userId="ea04722c-9be7-49ff-9a17-c5a9c646d8a7" providerId="ADAL" clId="{CD8730B2-33C8-45A0-B7F3-AFF9A8887409}" dt="2024-07-30T05:57:11.802" v="1068" actId="1076"/>
          <ac:spMkLst>
            <pc:docMk/>
            <pc:sldMk cId="781584985" sldId="2266"/>
            <ac:spMk id="8" creationId="{21532806-4319-7634-0875-E11A9151F768}"/>
          </ac:spMkLst>
        </pc:spChg>
        <pc:spChg chg="mod">
          <ac:chgData name="Timur Karimsakov" userId="ea04722c-9be7-49ff-9a17-c5a9c646d8a7" providerId="ADAL" clId="{CD8730B2-33C8-45A0-B7F3-AFF9A8887409}" dt="2024-07-30T05:57:16.698" v="1069" actId="1076"/>
          <ac:spMkLst>
            <pc:docMk/>
            <pc:sldMk cId="781584985" sldId="2266"/>
            <ac:spMk id="10" creationId="{52785138-A214-64F8-152E-ABD46BCBF8B1}"/>
          </ac:spMkLst>
        </pc:spChg>
        <pc:spChg chg="mod">
          <ac:chgData name="Timur Karimsakov" userId="ea04722c-9be7-49ff-9a17-c5a9c646d8a7" providerId="ADAL" clId="{CD8730B2-33C8-45A0-B7F3-AFF9A8887409}" dt="2024-07-30T05:57:28.970" v="1070" actId="20577"/>
          <ac:spMkLst>
            <pc:docMk/>
            <pc:sldMk cId="781584985" sldId="2266"/>
            <ac:spMk id="11" creationId="{B6C57508-C52E-3266-815E-55AE51AD1546}"/>
          </ac:spMkLst>
        </pc:spChg>
        <pc:spChg chg="mod">
          <ac:chgData name="Timur Karimsakov" userId="ea04722c-9be7-49ff-9a17-c5a9c646d8a7" providerId="ADAL" clId="{CD8730B2-33C8-45A0-B7F3-AFF9A8887409}" dt="2024-07-30T05:56:55.162" v="1067" actId="20577"/>
          <ac:spMkLst>
            <pc:docMk/>
            <pc:sldMk cId="781584985" sldId="2266"/>
            <ac:spMk id="13" creationId="{AC84348C-3720-FEF6-79E9-BB1361A905E8}"/>
          </ac:spMkLst>
        </pc:spChg>
        <pc:spChg chg="mod">
          <ac:chgData name="Timur Karimsakov" userId="ea04722c-9be7-49ff-9a17-c5a9c646d8a7" providerId="ADAL" clId="{CD8730B2-33C8-45A0-B7F3-AFF9A8887409}" dt="2024-07-30T05:52:47.739" v="780" actId="20577"/>
          <ac:spMkLst>
            <pc:docMk/>
            <pc:sldMk cId="781584985" sldId="2266"/>
            <ac:spMk id="16" creationId="{E1F1BB03-B6CE-0826-CB63-3466F6634D68}"/>
          </ac:spMkLst>
        </pc:spChg>
        <pc:spChg chg="mod">
          <ac:chgData name="Timur Karimsakov" userId="ea04722c-9be7-49ff-9a17-c5a9c646d8a7" providerId="ADAL" clId="{CD8730B2-33C8-45A0-B7F3-AFF9A8887409}" dt="2024-07-30T05:52:53.408" v="783" actId="20577"/>
          <ac:spMkLst>
            <pc:docMk/>
            <pc:sldMk cId="781584985" sldId="2266"/>
            <ac:spMk id="17" creationId="{7FB1B7A3-CCA5-CC7F-5962-21EEAE1DD7C2}"/>
          </ac:spMkLst>
        </pc:spChg>
        <pc:spChg chg="mod">
          <ac:chgData name="Timur Karimsakov" userId="ea04722c-9be7-49ff-9a17-c5a9c646d8a7" providerId="ADAL" clId="{CD8730B2-33C8-45A0-B7F3-AFF9A8887409}" dt="2024-07-30T05:55:56.587" v="1026" actId="20577"/>
          <ac:spMkLst>
            <pc:docMk/>
            <pc:sldMk cId="781584985" sldId="2266"/>
            <ac:spMk id="18" creationId="{662206EC-626D-5433-AAE8-837DEE0D910E}"/>
          </ac:spMkLst>
        </pc:spChg>
        <pc:spChg chg="add mod">
          <ac:chgData name="Timur Karimsakov" userId="ea04722c-9be7-49ff-9a17-c5a9c646d8a7" providerId="ADAL" clId="{CD8730B2-33C8-45A0-B7F3-AFF9A8887409}" dt="2024-07-30T05:52:10.142" v="764" actId="1076"/>
          <ac:spMkLst>
            <pc:docMk/>
            <pc:sldMk cId="781584985" sldId="2266"/>
            <ac:spMk id="19" creationId="{D8DAC98A-FF6B-71D8-C8C9-A82EE6DA8734}"/>
          </ac:spMkLst>
        </pc:spChg>
        <pc:spChg chg="mod">
          <ac:chgData name="Timur Karimsakov" userId="ea04722c-9be7-49ff-9a17-c5a9c646d8a7" providerId="ADAL" clId="{CD8730B2-33C8-45A0-B7F3-AFF9A8887409}" dt="2024-07-30T05:51:36.917" v="760"/>
          <ac:spMkLst>
            <pc:docMk/>
            <pc:sldMk cId="781584985" sldId="2266"/>
            <ac:spMk id="21" creationId="{6596C313-F637-3C24-18F6-D87DC8097557}"/>
          </ac:spMkLst>
        </pc:spChg>
        <pc:spChg chg="mod">
          <ac:chgData name="Timur Karimsakov" userId="ea04722c-9be7-49ff-9a17-c5a9c646d8a7" providerId="ADAL" clId="{CD8730B2-33C8-45A0-B7F3-AFF9A8887409}" dt="2024-07-30T05:52:36.865" v="771" actId="20577"/>
          <ac:spMkLst>
            <pc:docMk/>
            <pc:sldMk cId="781584985" sldId="2266"/>
            <ac:spMk id="22" creationId="{3BBE6039-D1DC-441E-E6E9-8536AE76BA29}"/>
          </ac:spMkLst>
        </pc:spChg>
        <pc:spChg chg="add mod">
          <ac:chgData name="Timur Karimsakov" userId="ea04722c-9be7-49ff-9a17-c5a9c646d8a7" providerId="ADAL" clId="{CD8730B2-33C8-45A0-B7F3-AFF9A8887409}" dt="2024-07-30T06:02:07.947" v="1288" actId="20577"/>
          <ac:spMkLst>
            <pc:docMk/>
            <pc:sldMk cId="781584985" sldId="2266"/>
            <ac:spMk id="23" creationId="{3DBC144C-69C2-4085-8F0E-9AACB2F9B24E}"/>
          </ac:spMkLst>
        </pc:spChg>
        <pc:spChg chg="mod">
          <ac:chgData name="Timur Karimsakov" userId="ea04722c-9be7-49ff-9a17-c5a9c646d8a7" providerId="ADAL" clId="{CD8730B2-33C8-45A0-B7F3-AFF9A8887409}" dt="2024-07-30T05:51:48.154" v="762" actId="1076"/>
          <ac:spMkLst>
            <pc:docMk/>
            <pc:sldMk cId="781584985" sldId="2266"/>
            <ac:spMk id="26" creationId="{2BD52AC1-D19D-1FEB-BF3D-3E19E645E2A1}"/>
          </ac:spMkLst>
        </pc:spChg>
        <pc:grpChg chg="mod">
          <ac:chgData name="Timur Karimsakov" userId="ea04722c-9be7-49ff-9a17-c5a9c646d8a7" providerId="ADAL" clId="{CD8730B2-33C8-45A0-B7F3-AFF9A8887409}" dt="2024-07-30T05:52:24.320" v="765" actId="1076"/>
          <ac:grpSpMkLst>
            <pc:docMk/>
            <pc:sldMk cId="781584985" sldId="2266"/>
            <ac:grpSpMk id="14" creationId="{C5D266CA-0CA9-8EC8-0A43-03A0C4BA5A7F}"/>
          </ac:grpSpMkLst>
        </pc:grpChg>
        <pc:grpChg chg="add mod">
          <ac:chgData name="Timur Karimsakov" userId="ea04722c-9be7-49ff-9a17-c5a9c646d8a7" providerId="ADAL" clId="{CD8730B2-33C8-45A0-B7F3-AFF9A8887409}" dt="2024-07-30T05:52:10.142" v="764" actId="1076"/>
          <ac:grpSpMkLst>
            <pc:docMk/>
            <pc:sldMk cId="781584985" sldId="2266"/>
            <ac:grpSpMk id="20" creationId="{B11052AB-3FE7-E830-1487-F82C0F31D098}"/>
          </ac:grpSpMkLst>
        </pc:grpChg>
        <pc:grpChg chg="mod">
          <ac:chgData name="Timur Karimsakov" userId="ea04722c-9be7-49ff-9a17-c5a9c646d8a7" providerId="ADAL" clId="{CD8730B2-33C8-45A0-B7F3-AFF9A8887409}" dt="2024-07-30T05:51:48.154" v="762" actId="1076"/>
          <ac:grpSpMkLst>
            <pc:docMk/>
            <pc:sldMk cId="781584985" sldId="2266"/>
            <ac:grpSpMk id="39" creationId="{40984467-3B6D-8CA3-A615-3409F3E582B8}"/>
          </ac:grpSpMkLst>
        </pc:grpChg>
        <pc:cxnChg chg="mod">
          <ac:chgData name="Timur Karimsakov" userId="ea04722c-9be7-49ff-9a17-c5a9c646d8a7" providerId="ADAL" clId="{CD8730B2-33C8-45A0-B7F3-AFF9A8887409}" dt="2024-07-30T05:51:48.154" v="762" actId="1076"/>
          <ac:cxnSpMkLst>
            <pc:docMk/>
            <pc:sldMk cId="781584985" sldId="2266"/>
            <ac:cxnSpMk id="4" creationId="{43A22D32-D012-287B-6A8D-EA77515FEBCF}"/>
          </ac:cxnSpMkLst>
        </pc:cxnChg>
        <pc:cxnChg chg="mod">
          <ac:chgData name="Timur Karimsakov" userId="ea04722c-9be7-49ff-9a17-c5a9c646d8a7" providerId="ADAL" clId="{CD8730B2-33C8-45A0-B7F3-AFF9A8887409}" dt="2024-07-30T05:52:24.320" v="765" actId="1076"/>
          <ac:cxnSpMkLst>
            <pc:docMk/>
            <pc:sldMk cId="781584985" sldId="2266"/>
            <ac:cxnSpMk id="12" creationId="{F25F9A3C-A6AC-7B2C-A7C3-15F9DC24E247}"/>
          </ac:cxnSpMkLst>
        </pc:cxnChg>
        <pc:cxnChg chg="add mod">
          <ac:chgData name="Timur Karimsakov" userId="ea04722c-9be7-49ff-9a17-c5a9c646d8a7" providerId="ADAL" clId="{CD8730B2-33C8-45A0-B7F3-AFF9A8887409}" dt="2024-07-30T05:52:10.142" v="764" actId="1076"/>
          <ac:cxnSpMkLst>
            <pc:docMk/>
            <pc:sldMk cId="781584985" sldId="2266"/>
            <ac:cxnSpMk id="15" creationId="{B51B049F-DB48-88C0-D085-555C1FE64DF4}"/>
          </ac:cxnSpMkLst>
        </pc:cxnChg>
      </pc:sldChg>
      <pc:sldChg chg="modSp del mod">
        <pc:chgData name="Timur Karimsakov" userId="ea04722c-9be7-49ff-9a17-c5a9c646d8a7" providerId="ADAL" clId="{CD8730B2-33C8-45A0-B7F3-AFF9A8887409}" dt="2024-07-30T05:51:19.461" v="759" actId="47"/>
        <pc:sldMkLst>
          <pc:docMk/>
          <pc:sldMk cId="3764251038" sldId="2268"/>
        </pc:sldMkLst>
        <pc:spChg chg="mod">
          <ac:chgData name="Timur Karimsakov" userId="ea04722c-9be7-49ff-9a17-c5a9c646d8a7" providerId="ADAL" clId="{CD8730B2-33C8-45A0-B7F3-AFF9A8887409}" dt="2024-07-29T11:33:35.755" v="23" actId="1076"/>
          <ac:spMkLst>
            <pc:docMk/>
            <pc:sldMk cId="3764251038" sldId="2268"/>
            <ac:spMk id="45" creationId="{C7E754B8-805A-FC8A-6CFB-E64E277689AE}"/>
          </ac:spMkLst>
        </pc:spChg>
        <pc:spChg chg="mod">
          <ac:chgData name="Timur Karimsakov" userId="ea04722c-9be7-49ff-9a17-c5a9c646d8a7" providerId="ADAL" clId="{CD8730B2-33C8-45A0-B7F3-AFF9A8887409}" dt="2024-07-30T05:50:23.475" v="752" actId="20577"/>
          <ac:spMkLst>
            <pc:docMk/>
            <pc:sldMk cId="3764251038" sldId="2268"/>
            <ac:spMk id="86" creationId="{9EF1E2AC-B7F0-9755-A337-6F10DC256FDC}"/>
          </ac:spMkLst>
        </pc:spChg>
        <pc:graphicFrameChg chg="mod">
          <ac:chgData name="Timur Karimsakov" userId="ea04722c-9be7-49ff-9a17-c5a9c646d8a7" providerId="ADAL" clId="{CD8730B2-33C8-45A0-B7F3-AFF9A8887409}" dt="2024-07-29T11:34:36.718" v="64" actId="14861"/>
          <ac:graphicFrameMkLst>
            <pc:docMk/>
            <pc:sldMk cId="3764251038" sldId="2268"/>
            <ac:graphicFrameMk id="12" creationId="{B090D90C-73F6-B977-471D-5FDB8588A3CD}"/>
          </ac:graphicFrameMkLst>
        </pc:graphicFrameChg>
      </pc:sldChg>
      <pc:sldChg chg="addSp delSp modSp mod">
        <pc:chgData name="Timur Karimsakov" userId="ea04722c-9be7-49ff-9a17-c5a9c646d8a7" providerId="ADAL" clId="{CD8730B2-33C8-45A0-B7F3-AFF9A8887409}" dt="2024-07-30T07:19:58.208" v="1310" actId="1076"/>
        <pc:sldMkLst>
          <pc:docMk/>
          <pc:sldMk cId="2575797221" sldId="2269"/>
        </pc:sldMkLst>
        <pc:spChg chg="mod">
          <ac:chgData name="Timur Karimsakov" userId="ea04722c-9be7-49ff-9a17-c5a9c646d8a7" providerId="ADAL" clId="{CD8730B2-33C8-45A0-B7F3-AFF9A8887409}" dt="2024-07-30T07:19:58.208" v="1310" actId="1076"/>
          <ac:spMkLst>
            <pc:docMk/>
            <pc:sldMk cId="2575797221" sldId="2269"/>
            <ac:spMk id="2" creationId="{12E56D24-0C45-5495-BE4F-E6E492CF6CF0}"/>
          </ac:spMkLst>
        </pc:spChg>
        <pc:spChg chg="mod">
          <ac:chgData name="Timur Karimsakov" userId="ea04722c-9be7-49ff-9a17-c5a9c646d8a7" providerId="ADAL" clId="{CD8730B2-33C8-45A0-B7F3-AFF9A8887409}" dt="2024-07-29T11:57:27.916" v="321" actId="1076"/>
          <ac:spMkLst>
            <pc:docMk/>
            <pc:sldMk cId="2575797221" sldId="2269"/>
            <ac:spMk id="3" creationId="{181624B7-D2F2-5437-4667-6C2A8B0527C5}"/>
          </ac:spMkLst>
        </pc:spChg>
        <pc:spChg chg="mod">
          <ac:chgData name="Timur Karimsakov" userId="ea04722c-9be7-49ff-9a17-c5a9c646d8a7" providerId="ADAL" clId="{CD8730B2-33C8-45A0-B7F3-AFF9A8887409}" dt="2024-07-29T11:57:38.278" v="322" actId="1076"/>
          <ac:spMkLst>
            <pc:docMk/>
            <pc:sldMk cId="2575797221" sldId="2269"/>
            <ac:spMk id="4" creationId="{CDF67F82-5B8D-EF69-7B3C-8AF8E01550E9}"/>
          </ac:spMkLst>
        </pc:spChg>
        <pc:spChg chg="mod">
          <ac:chgData name="Timur Karimsakov" userId="ea04722c-9be7-49ff-9a17-c5a9c646d8a7" providerId="ADAL" clId="{CD8730B2-33C8-45A0-B7F3-AFF9A8887409}" dt="2024-07-29T11:56:29.130" v="303" actId="20577"/>
          <ac:spMkLst>
            <pc:docMk/>
            <pc:sldMk cId="2575797221" sldId="2269"/>
            <ac:spMk id="6" creationId="{4D2D685B-956E-9715-3DAA-413C293BF497}"/>
          </ac:spMkLst>
        </pc:spChg>
        <pc:spChg chg="mod">
          <ac:chgData name="Timur Karimsakov" userId="ea04722c-9be7-49ff-9a17-c5a9c646d8a7" providerId="ADAL" clId="{CD8730B2-33C8-45A0-B7F3-AFF9A8887409}" dt="2024-07-29T11:56:34.047" v="309" actId="20577"/>
          <ac:spMkLst>
            <pc:docMk/>
            <pc:sldMk cId="2575797221" sldId="2269"/>
            <ac:spMk id="12" creationId="{A76CF317-8F68-B2F1-3D06-2EF2070A04BC}"/>
          </ac:spMkLst>
        </pc:spChg>
        <pc:spChg chg="mod">
          <ac:chgData name="Timur Karimsakov" userId="ea04722c-9be7-49ff-9a17-c5a9c646d8a7" providerId="ADAL" clId="{CD8730B2-33C8-45A0-B7F3-AFF9A8887409}" dt="2024-07-29T11:56:31.215" v="305" actId="20577"/>
          <ac:spMkLst>
            <pc:docMk/>
            <pc:sldMk cId="2575797221" sldId="2269"/>
            <ac:spMk id="22" creationId="{1F959469-4747-9E14-9895-BDBF7B7FE1B9}"/>
          </ac:spMkLst>
        </pc:spChg>
        <pc:spChg chg="mod">
          <ac:chgData name="Timur Karimsakov" userId="ea04722c-9be7-49ff-9a17-c5a9c646d8a7" providerId="ADAL" clId="{CD8730B2-33C8-45A0-B7F3-AFF9A8887409}" dt="2024-07-29T11:56:36.740" v="313" actId="20577"/>
          <ac:spMkLst>
            <pc:docMk/>
            <pc:sldMk cId="2575797221" sldId="2269"/>
            <ac:spMk id="38" creationId="{4A77129F-0CEE-7351-EC4A-9321C484638E}"/>
          </ac:spMkLst>
        </pc:spChg>
        <pc:spChg chg="mod">
          <ac:chgData name="Timur Karimsakov" userId="ea04722c-9be7-49ff-9a17-c5a9c646d8a7" providerId="ADAL" clId="{CD8730B2-33C8-45A0-B7F3-AFF9A8887409}" dt="2024-07-29T11:57:13.702" v="320" actId="1076"/>
          <ac:spMkLst>
            <pc:docMk/>
            <pc:sldMk cId="2575797221" sldId="2269"/>
            <ac:spMk id="41" creationId="{1B76418E-E0A3-2871-3BA1-41DE1238C80A}"/>
          </ac:spMkLst>
        </pc:spChg>
        <pc:spChg chg="mod topLvl">
          <ac:chgData name="Timur Karimsakov" userId="ea04722c-9be7-49ff-9a17-c5a9c646d8a7" providerId="ADAL" clId="{CD8730B2-33C8-45A0-B7F3-AFF9A8887409}" dt="2024-07-29T11:54:55.821" v="277" actId="164"/>
          <ac:spMkLst>
            <pc:docMk/>
            <pc:sldMk cId="2575797221" sldId="2269"/>
            <ac:spMk id="44" creationId="{42055157-3FB9-B2DD-04E8-9BE44F1F2736}"/>
          </ac:spMkLst>
        </pc:spChg>
        <pc:spChg chg="mod topLvl">
          <ac:chgData name="Timur Karimsakov" userId="ea04722c-9be7-49ff-9a17-c5a9c646d8a7" providerId="ADAL" clId="{CD8730B2-33C8-45A0-B7F3-AFF9A8887409}" dt="2024-07-29T11:55:08.039" v="279" actId="164"/>
          <ac:spMkLst>
            <pc:docMk/>
            <pc:sldMk cId="2575797221" sldId="2269"/>
            <ac:spMk id="45" creationId="{944499C0-9F55-32DD-B168-3DF315DDE32A}"/>
          </ac:spMkLst>
        </pc:spChg>
        <pc:spChg chg="mod topLvl">
          <ac:chgData name="Timur Karimsakov" userId="ea04722c-9be7-49ff-9a17-c5a9c646d8a7" providerId="ADAL" clId="{CD8730B2-33C8-45A0-B7F3-AFF9A8887409}" dt="2024-07-29T11:55:08.039" v="279" actId="164"/>
          <ac:spMkLst>
            <pc:docMk/>
            <pc:sldMk cId="2575797221" sldId="2269"/>
            <ac:spMk id="47" creationId="{7CDA641A-90F2-0586-9EF4-2F29CFFCD52A}"/>
          </ac:spMkLst>
        </pc:spChg>
        <pc:spChg chg="mod topLvl">
          <ac:chgData name="Timur Karimsakov" userId="ea04722c-9be7-49ff-9a17-c5a9c646d8a7" providerId="ADAL" clId="{CD8730B2-33C8-45A0-B7F3-AFF9A8887409}" dt="2024-07-29T11:55:01.756" v="278" actId="164"/>
          <ac:spMkLst>
            <pc:docMk/>
            <pc:sldMk cId="2575797221" sldId="2269"/>
            <ac:spMk id="48" creationId="{711DEC4B-DAF1-CABF-F614-99639F21B7D9}"/>
          </ac:spMkLst>
        </pc:spChg>
        <pc:spChg chg="mod">
          <ac:chgData name="Timur Karimsakov" userId="ea04722c-9be7-49ff-9a17-c5a9c646d8a7" providerId="ADAL" clId="{CD8730B2-33C8-45A0-B7F3-AFF9A8887409}" dt="2024-07-29T11:54:55.821" v="277" actId="164"/>
          <ac:spMkLst>
            <pc:docMk/>
            <pc:sldMk cId="2575797221" sldId="2269"/>
            <ac:spMk id="51" creationId="{7DBE0DEA-8478-9D58-6C91-3D2064B751E9}"/>
          </ac:spMkLst>
        </pc:spChg>
        <pc:spChg chg="mod topLvl">
          <ac:chgData name="Timur Karimsakov" userId="ea04722c-9be7-49ff-9a17-c5a9c646d8a7" providerId="ADAL" clId="{CD8730B2-33C8-45A0-B7F3-AFF9A8887409}" dt="2024-07-30T07:19:49.194" v="1309" actId="1076"/>
          <ac:spMkLst>
            <pc:docMk/>
            <pc:sldMk cId="2575797221" sldId="2269"/>
            <ac:spMk id="53" creationId="{D5965B4C-A8D8-46F2-C547-CF686E2F5FE8}"/>
          </ac:spMkLst>
        </pc:spChg>
        <pc:spChg chg="mod topLvl">
          <ac:chgData name="Timur Karimsakov" userId="ea04722c-9be7-49ff-9a17-c5a9c646d8a7" providerId="ADAL" clId="{CD8730B2-33C8-45A0-B7F3-AFF9A8887409}" dt="2024-07-29T11:55:34.453" v="283" actId="1076"/>
          <ac:spMkLst>
            <pc:docMk/>
            <pc:sldMk cId="2575797221" sldId="2269"/>
            <ac:spMk id="54" creationId="{7FCAACB0-BE87-63B6-3F0F-422BAC2C2E3F}"/>
          </ac:spMkLst>
        </pc:spChg>
        <pc:grpChg chg="add mod">
          <ac:chgData name="Timur Karimsakov" userId="ea04722c-9be7-49ff-9a17-c5a9c646d8a7" providerId="ADAL" clId="{CD8730B2-33C8-45A0-B7F3-AFF9A8887409}" dt="2024-07-29T11:54:51.394" v="276" actId="164"/>
          <ac:grpSpMkLst>
            <pc:docMk/>
            <pc:sldMk cId="2575797221" sldId="2269"/>
            <ac:grpSpMk id="5" creationId="{0EF40822-C3D3-BFA0-6B54-4D0C4A80204B}"/>
          </ac:grpSpMkLst>
        </pc:grpChg>
        <pc:grpChg chg="add mod">
          <ac:chgData name="Timur Karimsakov" userId="ea04722c-9be7-49ff-9a17-c5a9c646d8a7" providerId="ADAL" clId="{CD8730B2-33C8-45A0-B7F3-AFF9A8887409}" dt="2024-07-29T11:55:20.082" v="280" actId="408"/>
          <ac:grpSpMkLst>
            <pc:docMk/>
            <pc:sldMk cId="2575797221" sldId="2269"/>
            <ac:grpSpMk id="8" creationId="{E2E9631C-D66D-1E49-D9BB-00B9485648F9}"/>
          </ac:grpSpMkLst>
        </pc:grpChg>
        <pc:grpChg chg="add mod">
          <ac:chgData name="Timur Karimsakov" userId="ea04722c-9be7-49ff-9a17-c5a9c646d8a7" providerId="ADAL" clId="{CD8730B2-33C8-45A0-B7F3-AFF9A8887409}" dt="2024-07-29T11:55:20.082" v="280" actId="408"/>
          <ac:grpSpMkLst>
            <pc:docMk/>
            <pc:sldMk cId="2575797221" sldId="2269"/>
            <ac:grpSpMk id="9" creationId="{9EBD4934-E55A-76A2-692E-63620A4FC437}"/>
          </ac:grpSpMkLst>
        </pc:grpChg>
        <pc:grpChg chg="add mod">
          <ac:chgData name="Timur Karimsakov" userId="ea04722c-9be7-49ff-9a17-c5a9c646d8a7" providerId="ADAL" clId="{CD8730B2-33C8-45A0-B7F3-AFF9A8887409}" dt="2024-07-29T11:55:08.039" v="279" actId="164"/>
          <ac:grpSpMkLst>
            <pc:docMk/>
            <pc:sldMk cId="2575797221" sldId="2269"/>
            <ac:grpSpMk id="10" creationId="{2CF98472-CB7B-B9A5-7604-2D9F24F35CD6}"/>
          </ac:grpSpMkLst>
        </pc:grpChg>
        <pc:grpChg chg="del">
          <ac:chgData name="Timur Karimsakov" userId="ea04722c-9be7-49ff-9a17-c5a9c646d8a7" providerId="ADAL" clId="{CD8730B2-33C8-45A0-B7F3-AFF9A8887409}" dt="2024-07-29T11:54:23.389" v="274" actId="165"/>
          <ac:grpSpMkLst>
            <pc:docMk/>
            <pc:sldMk cId="2575797221" sldId="2269"/>
            <ac:grpSpMk id="43" creationId="{47BE0FC2-9038-0AA9-E934-E028406B70F8}"/>
          </ac:grpSpMkLst>
        </pc:grpChg>
        <pc:grpChg chg="del">
          <ac:chgData name="Timur Karimsakov" userId="ea04722c-9be7-49ff-9a17-c5a9c646d8a7" providerId="ADAL" clId="{CD8730B2-33C8-45A0-B7F3-AFF9A8887409}" dt="2024-07-29T11:54:32.733" v="275" actId="165"/>
          <ac:grpSpMkLst>
            <pc:docMk/>
            <pc:sldMk cId="2575797221" sldId="2269"/>
            <ac:grpSpMk id="46" creationId="{A0A3788E-F9F4-B9C6-9123-4A85E815D028}"/>
          </ac:grpSpMkLst>
        </pc:grpChg>
        <pc:grpChg chg="del">
          <ac:chgData name="Timur Karimsakov" userId="ea04722c-9be7-49ff-9a17-c5a9c646d8a7" providerId="ADAL" clId="{CD8730B2-33C8-45A0-B7F3-AFF9A8887409}" dt="2024-07-29T11:53:54.310" v="240" actId="165"/>
          <ac:grpSpMkLst>
            <pc:docMk/>
            <pc:sldMk cId="2575797221" sldId="2269"/>
            <ac:grpSpMk id="52" creationId="{23C41BBA-E07C-54CB-D9C4-D3922981E61A}"/>
          </ac:grpSpMkLst>
        </pc:grpChg>
      </pc:sldChg>
      <pc:sldChg chg="addSp delSp modSp mod">
        <pc:chgData name="Timur Karimsakov" userId="ea04722c-9be7-49ff-9a17-c5a9c646d8a7" providerId="ADAL" clId="{CD8730B2-33C8-45A0-B7F3-AFF9A8887409}" dt="2024-07-30T07:29:05.746" v="1312" actId="27918"/>
        <pc:sldMkLst>
          <pc:docMk/>
          <pc:sldMk cId="515681888" sldId="2270"/>
        </pc:sldMkLst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2" creationId="{A3D29DA0-E5C6-A969-35E4-590EF97E3BF9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4" creationId="{5DF7C733-4DE3-3DB1-3478-8BF965158061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5" creationId="{3BDF9FDE-14C0-A91A-67D7-21196681CF6B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6" creationId="{0D248B02-CFFF-7BB0-5656-0E815B09FD4F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7" creationId="{573F0A31-3BA6-D95F-CE15-3CD5796C9609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8" creationId="{5FB2B10B-8A3F-07EF-CD24-F24A59442658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9" creationId="{96D9F33A-C69C-2110-4CA9-14C69704658E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0" creationId="{7B7FEB6E-BF99-6FFE-48E8-4BEA45172F29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1" creationId="{C6965CAC-3C8D-76FC-5C2F-18761BFD6020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2" creationId="{868B19A3-723C-AE75-B4A7-2A827336010B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3" creationId="{E4F751C4-17D8-4DDB-6AFC-2DCC3170F560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4" creationId="{80530392-F1D2-9609-57F0-D13ED74EAD65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5" creationId="{32B225BE-F781-46E1-8780-94FDFABAFC25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6" creationId="{8FB28E0C-E340-24A1-ECB6-CF25782E4F86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7" creationId="{16E6CBE0-72C0-31D6-6214-1D0E2527598F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18" creationId="{1F589377-83F5-B74C-8F52-E6B543001B3E}"/>
          </ac:spMkLst>
        </pc:spChg>
        <pc:spChg chg="add 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21" creationId="{A965A836-0514-7B6E-2211-17F655A0BB5A}"/>
          </ac:spMkLst>
        </pc:spChg>
        <pc:spChg chg="mod">
          <ac:chgData name="Timur Karimsakov" userId="ea04722c-9be7-49ff-9a17-c5a9c646d8a7" providerId="ADAL" clId="{CD8730B2-33C8-45A0-B7F3-AFF9A8887409}" dt="2024-07-30T05:38:59.881" v="622" actId="1036"/>
          <ac:spMkLst>
            <pc:docMk/>
            <pc:sldMk cId="515681888" sldId="2270"/>
            <ac:spMk id="25" creationId="{6E03C99C-9998-1427-9622-CB18B4C2EAB1}"/>
          </ac:spMkLst>
        </pc:spChg>
        <pc:graphicFrameChg chg="del">
          <ac:chgData name="Timur Karimsakov" userId="ea04722c-9be7-49ff-9a17-c5a9c646d8a7" providerId="ADAL" clId="{CD8730B2-33C8-45A0-B7F3-AFF9A8887409}" dt="2024-07-29T12:18:40.075" v="390" actId="478"/>
          <ac:graphicFrameMkLst>
            <pc:docMk/>
            <pc:sldMk cId="515681888" sldId="2270"/>
            <ac:graphicFrameMk id="3" creationId="{6EFFBB75-134A-41F2-8DFC-F0211B0DC23C}"/>
          </ac:graphicFrameMkLst>
        </pc:graphicFrameChg>
        <pc:graphicFrameChg chg="add mod">
          <ac:chgData name="Timur Karimsakov" userId="ea04722c-9be7-49ff-9a17-c5a9c646d8a7" providerId="ADAL" clId="{CD8730B2-33C8-45A0-B7F3-AFF9A8887409}" dt="2024-07-30T06:02:47.789" v="1294"/>
          <ac:graphicFrameMkLst>
            <pc:docMk/>
            <pc:sldMk cId="515681888" sldId="2270"/>
            <ac:graphicFrameMk id="19" creationId="{ABD5945D-94C7-4909-93DB-B1A607DDE416}"/>
          </ac:graphicFrameMkLst>
        </pc:graphicFrameChg>
        <pc:cxnChg chg="mod">
          <ac:chgData name="Timur Karimsakov" userId="ea04722c-9be7-49ff-9a17-c5a9c646d8a7" providerId="ADAL" clId="{CD8730B2-33C8-45A0-B7F3-AFF9A8887409}" dt="2024-07-30T05:39:21.791" v="627" actId="1076"/>
          <ac:cxnSpMkLst>
            <pc:docMk/>
            <pc:sldMk cId="515681888" sldId="2270"/>
            <ac:cxnSpMk id="33" creationId="{AAADFA70-66AF-3B83-5071-51FB9118FCE8}"/>
          </ac:cxnSpMkLst>
        </pc:cxnChg>
      </pc:sldChg>
      <pc:sldChg chg="modSp add mod">
        <pc:chgData name="Timur Karimsakov" userId="ea04722c-9be7-49ff-9a17-c5a9c646d8a7" providerId="ADAL" clId="{CD8730B2-33C8-45A0-B7F3-AFF9A8887409}" dt="2024-07-30T05:50:53.735" v="758" actId="27918"/>
        <pc:sldMkLst>
          <pc:docMk/>
          <pc:sldMk cId="3925081326" sldId="2271"/>
        </pc:sldMkLst>
        <pc:spChg chg="mod">
          <ac:chgData name="Timur Karimsakov" userId="ea04722c-9be7-49ff-9a17-c5a9c646d8a7" providerId="ADAL" clId="{CD8730B2-33C8-45A0-B7F3-AFF9A8887409}" dt="2024-07-29T11:43:11.046" v="155" actId="1076"/>
          <ac:spMkLst>
            <pc:docMk/>
            <pc:sldMk cId="3925081326" sldId="2271"/>
            <ac:spMk id="14" creationId="{EB8E129D-A51F-7697-7A14-A6E6129187F2}"/>
          </ac:spMkLst>
        </pc:spChg>
        <pc:spChg chg="mod">
          <ac:chgData name="Timur Karimsakov" userId="ea04722c-9be7-49ff-9a17-c5a9c646d8a7" providerId="ADAL" clId="{CD8730B2-33C8-45A0-B7F3-AFF9A8887409}" dt="2024-07-29T11:43:06.827" v="154" actId="1076"/>
          <ac:spMkLst>
            <pc:docMk/>
            <pc:sldMk cId="3925081326" sldId="2271"/>
            <ac:spMk id="20" creationId="{A5DB1062-3803-C911-ED6A-B0A25247DF52}"/>
          </ac:spMkLst>
        </pc:spChg>
        <pc:spChg chg="mod">
          <ac:chgData name="Timur Karimsakov" userId="ea04722c-9be7-49ff-9a17-c5a9c646d8a7" providerId="ADAL" clId="{CD8730B2-33C8-45A0-B7F3-AFF9A8887409}" dt="2024-07-29T11:43:02.296" v="153" actId="1076"/>
          <ac:spMkLst>
            <pc:docMk/>
            <pc:sldMk cId="3925081326" sldId="2271"/>
            <ac:spMk id="29" creationId="{F735CE24-36B8-64B9-090A-DFBFC431646C}"/>
          </ac:spMkLst>
        </pc:spChg>
        <pc:spChg chg="mod">
          <ac:chgData name="Timur Karimsakov" userId="ea04722c-9be7-49ff-9a17-c5a9c646d8a7" providerId="ADAL" clId="{CD8730B2-33C8-45A0-B7F3-AFF9A8887409}" dt="2024-07-29T11:42:50.644" v="152" actId="1076"/>
          <ac:spMkLst>
            <pc:docMk/>
            <pc:sldMk cId="3925081326" sldId="2271"/>
            <ac:spMk id="45" creationId="{C7E754B8-805A-FC8A-6CFB-E64E277689AE}"/>
          </ac:spMkLst>
        </pc:spChg>
        <pc:spChg chg="mod">
          <ac:chgData name="Timur Karimsakov" userId="ea04722c-9be7-49ff-9a17-c5a9c646d8a7" providerId="ADAL" clId="{CD8730B2-33C8-45A0-B7F3-AFF9A8887409}" dt="2024-07-30T05:50:26.554" v="756" actId="20577"/>
          <ac:spMkLst>
            <pc:docMk/>
            <pc:sldMk cId="3925081326" sldId="2271"/>
            <ac:spMk id="86" creationId="{9EF1E2AC-B7F0-9755-A337-6F10DC256FDC}"/>
          </ac:spMkLst>
        </pc:spChg>
        <pc:cxnChg chg="mod">
          <ac:chgData name="Timur Karimsakov" userId="ea04722c-9be7-49ff-9a17-c5a9c646d8a7" providerId="ADAL" clId="{CD8730B2-33C8-45A0-B7F3-AFF9A8887409}" dt="2024-07-29T11:42:07.576" v="117" actId="1038"/>
          <ac:cxnSpMkLst>
            <pc:docMk/>
            <pc:sldMk cId="3925081326" sldId="2271"/>
            <ac:cxnSpMk id="36" creationId="{F9570CC5-422B-F6AE-D174-FC326F18DBDD}"/>
          </ac:cxnSpMkLst>
        </pc:cxnChg>
        <pc:cxnChg chg="mod">
          <ac:chgData name="Timur Karimsakov" userId="ea04722c-9be7-49ff-9a17-c5a9c646d8a7" providerId="ADAL" clId="{CD8730B2-33C8-45A0-B7F3-AFF9A8887409}" dt="2024-07-29T11:42:18.089" v="132" actId="1037"/>
          <ac:cxnSpMkLst>
            <pc:docMk/>
            <pc:sldMk cId="3925081326" sldId="2271"/>
            <ac:cxnSpMk id="37" creationId="{8FEBBE9E-E54D-B749-AD40-9C9102C94FFC}"/>
          </ac:cxnSpMkLst>
        </pc:cxnChg>
        <pc:cxnChg chg="mod">
          <ac:chgData name="Timur Karimsakov" userId="ea04722c-9be7-49ff-9a17-c5a9c646d8a7" providerId="ADAL" clId="{CD8730B2-33C8-45A0-B7F3-AFF9A8887409}" dt="2024-07-29T11:42:40.600" v="151" actId="1037"/>
          <ac:cxnSpMkLst>
            <pc:docMk/>
            <pc:sldMk cId="3925081326" sldId="2271"/>
            <ac:cxnSpMk id="39" creationId="{08557A76-A1A5-0049-F6D0-38C0B9C6F3D2}"/>
          </ac:cxnSpMkLst>
        </pc:cxnChg>
      </pc:sldChg>
      <pc:sldChg chg="modSp add del ord">
        <pc:chgData name="Timur Karimsakov" userId="ea04722c-9be7-49ff-9a17-c5a9c646d8a7" providerId="ADAL" clId="{CD8730B2-33C8-45A0-B7F3-AFF9A8887409}" dt="2024-07-30T05:40:19.043" v="629" actId="47"/>
        <pc:sldMkLst>
          <pc:docMk/>
          <pc:sldMk cId="3890467421" sldId="2272"/>
        </pc:sldMkLst>
        <pc:graphicFrameChg chg="mod">
          <ac:chgData name="Timur Karimsakov" userId="ea04722c-9be7-49ff-9a17-c5a9c646d8a7" providerId="ADAL" clId="{CD8730B2-33C8-45A0-B7F3-AFF9A8887409}" dt="2024-07-29T12:19:41.756" v="411"/>
          <ac:graphicFrameMkLst>
            <pc:docMk/>
            <pc:sldMk cId="3890467421" sldId="2272"/>
            <ac:graphicFrameMk id="3" creationId="{6EFFBB75-134A-41F2-8DFC-F0211B0DC23C}"/>
          </ac:graphicFrameMkLst>
        </pc:graphicFrameChg>
      </pc:sldChg>
      <pc:sldChg chg="add del">
        <pc:chgData name="Timur Karimsakov" userId="ea04722c-9be7-49ff-9a17-c5a9c646d8a7" providerId="ADAL" clId="{CD8730B2-33C8-45A0-B7F3-AFF9A8887409}" dt="2024-07-29T12:18:42.893" v="392"/>
        <pc:sldMkLst>
          <pc:docMk/>
          <pc:sldMk cId="4124657167" sldId="2273"/>
        </pc:sldMkLst>
      </pc:sldChg>
    </pc:docChg>
  </pc:docChgLst>
  <pc:docChgLst>
    <pc:chgData name="Altair Bekturov" userId="f1c9077e-fbd1-4d3f-8125-f3628bf5133d" providerId="ADAL" clId="{72466B2B-2B73-40AB-8E42-32BD36840FE9}"/>
    <pc:docChg chg="modSld">
      <pc:chgData name="Altair Bekturov" userId="f1c9077e-fbd1-4d3f-8125-f3628bf5133d" providerId="ADAL" clId="{72466B2B-2B73-40AB-8E42-32BD36840FE9}" dt="2024-05-22T10:37:28.768" v="10"/>
      <pc:docMkLst>
        <pc:docMk/>
      </pc:docMkLst>
      <pc:sldChg chg="modSp mod">
        <pc:chgData name="Altair Bekturov" userId="f1c9077e-fbd1-4d3f-8125-f3628bf5133d" providerId="ADAL" clId="{72466B2B-2B73-40AB-8E42-32BD36840FE9}" dt="2024-05-22T06:57:02.106" v="4" actId="13926"/>
        <pc:sldMkLst>
          <pc:docMk/>
          <pc:sldMk cId="4078718328" sldId="2184"/>
        </pc:sldMkLst>
        <pc:spChg chg="mod">
          <ac:chgData name="Altair Bekturov" userId="f1c9077e-fbd1-4d3f-8125-f3628bf5133d" providerId="ADAL" clId="{72466B2B-2B73-40AB-8E42-32BD36840FE9}" dt="2024-05-22T06:57:02.106" v="4" actId="13926"/>
          <ac:spMkLst>
            <pc:docMk/>
            <pc:sldMk cId="4078718328" sldId="2184"/>
            <ac:spMk id="8" creationId="{85697E62-4051-88FC-C94D-84493D08BE8E}"/>
          </ac:spMkLst>
        </pc:spChg>
      </pc:sldChg>
      <pc:sldChg chg="modSp mod">
        <pc:chgData name="Altair Bekturov" userId="f1c9077e-fbd1-4d3f-8125-f3628bf5133d" providerId="ADAL" clId="{72466B2B-2B73-40AB-8E42-32BD36840FE9}" dt="2024-05-22T06:57:28.848" v="7" actId="13926"/>
        <pc:sldMkLst>
          <pc:docMk/>
          <pc:sldMk cId="2298565077" sldId="2186"/>
        </pc:sldMkLst>
        <pc:spChg chg="mod">
          <ac:chgData name="Altair Bekturov" userId="f1c9077e-fbd1-4d3f-8125-f3628bf5133d" providerId="ADAL" clId="{72466B2B-2B73-40AB-8E42-32BD36840FE9}" dt="2024-05-22T06:57:28.848" v="7" actId="13926"/>
          <ac:spMkLst>
            <pc:docMk/>
            <pc:sldMk cId="2298565077" sldId="2186"/>
            <ac:spMk id="8" creationId="{85697E62-4051-88FC-C94D-84493D08BE8E}"/>
          </ac:spMkLst>
        </pc:spChg>
      </pc:sldChg>
      <pc:sldChg chg="modSp mod">
        <pc:chgData name="Altair Bekturov" userId="f1c9077e-fbd1-4d3f-8125-f3628bf5133d" providerId="ADAL" clId="{72466B2B-2B73-40AB-8E42-32BD36840FE9}" dt="2024-05-22T06:57:07.753" v="5" actId="13926"/>
        <pc:sldMkLst>
          <pc:docMk/>
          <pc:sldMk cId="2566058658" sldId="2262"/>
        </pc:sldMkLst>
        <pc:spChg chg="mod">
          <ac:chgData name="Altair Bekturov" userId="f1c9077e-fbd1-4d3f-8125-f3628bf5133d" providerId="ADAL" clId="{72466B2B-2B73-40AB-8E42-32BD36840FE9}" dt="2024-05-22T06:57:07.753" v="5" actId="13926"/>
          <ac:spMkLst>
            <pc:docMk/>
            <pc:sldMk cId="2566058658" sldId="2262"/>
            <ac:spMk id="26" creationId="{47D5E6D4-BFD4-AF58-0351-F6F523258D8D}"/>
          </ac:spMkLst>
        </pc:spChg>
      </pc:sldChg>
      <pc:sldChg chg="modSp mod addCm delCm">
        <pc:chgData name="Altair Bekturov" userId="f1c9077e-fbd1-4d3f-8125-f3628bf5133d" providerId="ADAL" clId="{72466B2B-2B73-40AB-8E42-32BD36840FE9}" dt="2024-05-22T10:37:28.768" v="10"/>
        <pc:sldMkLst>
          <pc:docMk/>
          <pc:sldMk cId="781584985" sldId="2266"/>
        </pc:sldMkLst>
        <pc:spChg chg="mod">
          <ac:chgData name="Altair Bekturov" userId="f1c9077e-fbd1-4d3f-8125-f3628bf5133d" providerId="ADAL" clId="{72466B2B-2B73-40AB-8E42-32BD36840FE9}" dt="2024-05-22T10:37:26.185" v="9" actId="13926"/>
          <ac:spMkLst>
            <pc:docMk/>
            <pc:sldMk cId="781584985" sldId="2266"/>
            <ac:spMk id="21" creationId="{9CB1B6D5-E16D-BE90-02C8-5235C0DAA7E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Altair Bekturov" userId="f1c9077e-fbd1-4d3f-8125-f3628bf5133d" providerId="ADAL" clId="{72466B2B-2B73-40AB-8E42-32BD36840FE9}" dt="2024-05-22T10:37:28.768" v="10"/>
              <pc2:cmMkLst xmlns:pc2="http://schemas.microsoft.com/office/powerpoint/2019/9/main/command">
                <pc:docMk/>
                <pc:sldMk cId="781584985" sldId="2266"/>
                <pc2:cmMk id="{21433C09-1BE8-44F8-8099-514DA9355149}"/>
              </pc2:cmMkLst>
            </pc226:cmChg>
          </p:ext>
        </pc:extLst>
      </pc:sldChg>
      <pc:sldChg chg="modSp mod">
        <pc:chgData name="Altair Bekturov" userId="f1c9077e-fbd1-4d3f-8125-f3628bf5133d" providerId="ADAL" clId="{72466B2B-2B73-40AB-8E42-32BD36840FE9}" dt="2024-05-22T06:55:51.684" v="1" actId="13926"/>
        <pc:sldMkLst>
          <pc:docMk/>
          <pc:sldMk cId="2234924895" sldId="2267"/>
        </pc:sldMkLst>
        <pc:spChg chg="mod">
          <ac:chgData name="Altair Bekturov" userId="f1c9077e-fbd1-4d3f-8125-f3628bf5133d" providerId="ADAL" clId="{72466B2B-2B73-40AB-8E42-32BD36840FE9}" dt="2024-05-22T06:55:51.684" v="1" actId="13926"/>
          <ac:spMkLst>
            <pc:docMk/>
            <pc:sldMk cId="2234924895" sldId="2267"/>
            <ac:spMk id="68" creationId="{2ECA0113-5FE2-F5DA-CE28-D2A789698078}"/>
          </ac:spMkLst>
        </pc:spChg>
      </pc:sldChg>
    </pc:docChg>
  </pc:docChgLst>
  <pc:docChgLst>
    <pc:chgData name="Aruzhan Bakhazatkhanova" userId="c778e498-cb36-475a-b96c-6ba69ac00b7a" providerId="ADAL" clId="{732B87BF-D132-4C12-A580-7E19D549530D}"/>
    <pc:docChg chg="undo custSel modSld">
      <pc:chgData name="Aruzhan Bakhazatkhanova" userId="c778e498-cb36-475a-b96c-6ba69ac00b7a" providerId="ADAL" clId="{732B87BF-D132-4C12-A580-7E19D549530D}" dt="2024-07-19T09:17:39.600" v="894" actId="20577"/>
      <pc:docMkLst>
        <pc:docMk/>
      </pc:docMkLst>
      <pc:sldChg chg="modSp mod">
        <pc:chgData name="Aruzhan Bakhazatkhanova" userId="c778e498-cb36-475a-b96c-6ba69ac00b7a" providerId="ADAL" clId="{732B87BF-D132-4C12-A580-7E19D549530D}" dt="2024-07-19T06:20:32.957" v="6" actId="20577"/>
        <pc:sldMkLst>
          <pc:docMk/>
          <pc:sldMk cId="15871163" sldId="257"/>
        </pc:sldMkLst>
        <pc:spChg chg="mod">
          <ac:chgData name="Aruzhan Bakhazatkhanova" userId="c778e498-cb36-475a-b96c-6ba69ac00b7a" providerId="ADAL" clId="{732B87BF-D132-4C12-A580-7E19D549530D}" dt="2024-07-19T06:20:32.957" v="6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modSp mod">
        <pc:chgData name="Aruzhan Bakhazatkhanova" userId="c778e498-cb36-475a-b96c-6ba69ac00b7a" providerId="ADAL" clId="{732B87BF-D132-4C12-A580-7E19D549530D}" dt="2024-07-19T06:50:13.194" v="472" actId="20577"/>
        <pc:sldMkLst>
          <pc:docMk/>
          <pc:sldMk cId="4078718328" sldId="2184"/>
        </pc:sldMkLst>
        <pc:spChg chg="mod">
          <ac:chgData name="Aruzhan Bakhazatkhanova" userId="c778e498-cb36-475a-b96c-6ba69ac00b7a" providerId="ADAL" clId="{732B87BF-D132-4C12-A580-7E19D549530D}" dt="2024-07-19T06:48:18.506" v="443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732B87BF-D132-4C12-A580-7E19D549530D}" dt="2024-07-19T06:50:13.194" v="472" actId="20577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Aruzhan Bakhazatkhanova" userId="c778e498-cb36-475a-b96c-6ba69ac00b7a" providerId="ADAL" clId="{732B87BF-D132-4C12-A580-7E19D549530D}" dt="2024-07-19T06:49:28.963" v="457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Aruzhan Bakhazatkhanova" userId="c778e498-cb36-475a-b96c-6ba69ac00b7a" providerId="ADAL" clId="{732B87BF-D132-4C12-A580-7E19D549530D}" dt="2024-07-19T06:49:39.581" v="466" actId="20577"/>
          <ac:spMkLst>
            <pc:docMk/>
            <pc:sldMk cId="4078718328" sldId="2184"/>
            <ac:spMk id="31" creationId="{1B43C88C-97F7-E43F-2336-6CFB022A3A87}"/>
          </ac:spMkLst>
        </pc:spChg>
      </pc:sldChg>
      <pc:sldChg chg="modSp mod">
        <pc:chgData name="Aruzhan Bakhazatkhanova" userId="c778e498-cb36-475a-b96c-6ba69ac00b7a" providerId="ADAL" clId="{732B87BF-D132-4C12-A580-7E19D549530D}" dt="2024-07-19T09:17:39.600" v="894" actId="20577"/>
        <pc:sldMkLst>
          <pc:docMk/>
          <pc:sldMk cId="2298565077" sldId="2186"/>
        </pc:sldMkLst>
        <pc:spChg chg="mod">
          <ac:chgData name="Aruzhan Bakhazatkhanova" userId="c778e498-cb36-475a-b96c-6ba69ac00b7a" providerId="ADAL" clId="{732B87BF-D132-4C12-A580-7E19D549530D}" dt="2024-07-19T07:07:42.675" v="809" actId="20577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Aruzhan Bakhazatkhanova" userId="c778e498-cb36-475a-b96c-6ba69ac00b7a" providerId="ADAL" clId="{732B87BF-D132-4C12-A580-7E19D549530D}" dt="2024-07-19T07:07:19.324" v="798" actId="20577"/>
          <ac:spMkLst>
            <pc:docMk/>
            <pc:sldMk cId="2298565077" sldId="2186"/>
            <ac:spMk id="6" creationId="{90BE8CD8-94C1-7202-0DBE-3853E3A66AD5}"/>
          </ac:spMkLst>
        </pc:spChg>
        <pc:spChg chg="mod">
          <ac:chgData name="Aruzhan Bakhazatkhanova" userId="c778e498-cb36-475a-b96c-6ba69ac00b7a" providerId="ADAL" clId="{732B87BF-D132-4C12-A580-7E19D549530D}" dt="2024-07-19T09:17:39.600" v="894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732B87BF-D132-4C12-A580-7E19D549530D}" dt="2024-07-19T07:07:22.436" v="800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modSp mod">
        <pc:chgData name="Aruzhan Bakhazatkhanova" userId="c778e498-cb36-475a-b96c-6ba69ac00b7a" providerId="ADAL" clId="{732B87BF-D132-4C12-A580-7E19D549530D}" dt="2024-07-19T09:14:01.680" v="832" actId="20577"/>
        <pc:sldMkLst>
          <pc:docMk/>
          <pc:sldMk cId="1727869833" sldId="2187"/>
        </pc:sldMkLst>
        <pc:spChg chg="mod">
          <ac:chgData name="Aruzhan Bakhazatkhanova" userId="c778e498-cb36-475a-b96c-6ba69ac00b7a" providerId="ADAL" clId="{732B87BF-D132-4C12-A580-7E19D549530D}" dt="2024-07-19T06:59:35.878" v="590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Aruzhan Bakhazatkhanova" userId="c778e498-cb36-475a-b96c-6ba69ac00b7a" providerId="ADAL" clId="{732B87BF-D132-4C12-A580-7E19D549530D}" dt="2024-07-19T06:59:40.643" v="597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Aruzhan Bakhazatkhanova" userId="c778e498-cb36-475a-b96c-6ba69ac00b7a" providerId="ADAL" clId="{732B87BF-D132-4C12-A580-7E19D549530D}" dt="2024-07-19T06:56:00.382" v="568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732B87BF-D132-4C12-A580-7E19D549530D}" dt="2024-07-19T07:00:52.060" v="628" actId="20577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Aruzhan Bakhazatkhanova" userId="c778e498-cb36-475a-b96c-6ba69ac00b7a" providerId="ADAL" clId="{732B87BF-D132-4C12-A580-7E19D549530D}" dt="2024-07-19T09:14:01.680" v="832" actId="20577"/>
          <ac:spMkLst>
            <pc:docMk/>
            <pc:sldMk cId="1727869833" sldId="2187"/>
            <ac:spMk id="30" creationId="{1EF8A265-7911-B274-2E61-42A4C8C332CC}"/>
          </ac:spMkLst>
        </pc:spChg>
        <pc:spChg chg="mod">
          <ac:chgData name="Aruzhan Bakhazatkhanova" userId="c778e498-cb36-475a-b96c-6ba69ac00b7a" providerId="ADAL" clId="{732B87BF-D132-4C12-A580-7E19D549530D}" dt="2024-07-19T07:01:41.939" v="631" actId="20577"/>
          <ac:spMkLst>
            <pc:docMk/>
            <pc:sldMk cId="1727869833" sldId="2187"/>
            <ac:spMk id="31" creationId="{1B43C88C-97F7-E43F-2336-6CFB022A3A87}"/>
          </ac:spMkLst>
        </pc:spChg>
      </pc:sldChg>
      <pc:sldChg chg="modSp mod">
        <pc:chgData name="Aruzhan Bakhazatkhanova" userId="c778e498-cb36-475a-b96c-6ba69ac00b7a" providerId="ADAL" clId="{732B87BF-D132-4C12-A580-7E19D549530D}" dt="2024-07-19T06:46:20.802" v="408" actId="20577"/>
        <pc:sldMkLst>
          <pc:docMk/>
          <pc:sldMk cId="2566058658" sldId="2262"/>
        </pc:sldMkLst>
        <pc:spChg chg="mod">
          <ac:chgData name="Aruzhan Bakhazatkhanova" userId="c778e498-cb36-475a-b96c-6ba69ac00b7a" providerId="ADAL" clId="{732B87BF-D132-4C12-A580-7E19D549530D}" dt="2024-07-19T06:42:40.393" v="378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Aruzhan Bakhazatkhanova" userId="c778e498-cb36-475a-b96c-6ba69ac00b7a" providerId="ADAL" clId="{732B87BF-D132-4C12-A580-7E19D549530D}" dt="2024-07-19T06:43:10.339" v="394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Aruzhan Bakhazatkhanova" userId="c778e498-cb36-475a-b96c-6ba69ac00b7a" providerId="ADAL" clId="{732B87BF-D132-4C12-A580-7E19D549530D}" dt="2024-07-19T06:46:20.802" v="408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Aruzhan Bakhazatkhanova" userId="c778e498-cb36-475a-b96c-6ba69ac00b7a" providerId="ADAL" clId="{732B87BF-D132-4C12-A580-7E19D549530D}" dt="2024-07-19T06:43:47.806" v="402" actId="20577"/>
          <ac:spMkLst>
            <pc:docMk/>
            <pc:sldMk cId="2566058658" sldId="2262"/>
            <ac:spMk id="27" creationId="{6B3D17CA-F792-DC19-AF9F-1B3065878F5C}"/>
          </ac:spMkLst>
        </pc:spChg>
        <pc:spChg chg="mod">
          <ac:chgData name="Aruzhan Bakhazatkhanova" userId="c778e498-cb36-475a-b96c-6ba69ac00b7a" providerId="ADAL" clId="{732B87BF-D132-4C12-A580-7E19D549530D}" dt="2024-07-19T06:45:30.564" v="405" actId="20577"/>
          <ac:spMkLst>
            <pc:docMk/>
            <pc:sldMk cId="2566058658" sldId="2262"/>
            <ac:spMk id="69" creationId="{B877ECC2-2520-FEDB-518D-37474CC4E7F2}"/>
          </ac:spMkLst>
        </pc:spChg>
      </pc:sldChg>
      <pc:sldChg chg="modSp mod">
        <pc:chgData name="Aruzhan Bakhazatkhanova" userId="c778e498-cb36-475a-b96c-6ba69ac00b7a" providerId="ADAL" clId="{732B87BF-D132-4C12-A580-7E19D549530D}" dt="2024-07-19T06:57:22.642" v="583" actId="123"/>
        <pc:sldMkLst>
          <pc:docMk/>
          <pc:sldMk cId="781584985" sldId="2266"/>
        </pc:sldMkLst>
        <pc:spChg chg="mod">
          <ac:chgData name="Aruzhan Bakhazatkhanova" userId="c778e498-cb36-475a-b96c-6ba69ac00b7a" providerId="ADAL" clId="{732B87BF-D132-4C12-A580-7E19D549530D}" dt="2024-07-19T06:20:50.547" v="13" actId="20577"/>
          <ac:spMkLst>
            <pc:docMk/>
            <pc:sldMk cId="781584985" sldId="2266"/>
            <ac:spMk id="2" creationId="{BD2CB8FC-6BA7-8072-C621-DF5C7DA19DDD}"/>
          </ac:spMkLst>
        </pc:spChg>
        <pc:spChg chg="mod">
          <ac:chgData name="Aruzhan Bakhazatkhanova" userId="c778e498-cb36-475a-b96c-6ba69ac00b7a" providerId="ADAL" clId="{732B87BF-D132-4C12-A580-7E19D549530D}" dt="2024-07-19T06:21:25.093" v="15" actId="20577"/>
          <ac:spMkLst>
            <pc:docMk/>
            <pc:sldMk cId="781584985" sldId="2266"/>
            <ac:spMk id="3" creationId="{E662F5FB-6268-A082-5539-E6DDA10ED133}"/>
          </ac:spMkLst>
        </pc:spChg>
        <pc:spChg chg="mod">
          <ac:chgData name="Aruzhan Bakhazatkhanova" userId="c778e498-cb36-475a-b96c-6ba69ac00b7a" providerId="ADAL" clId="{732B87BF-D132-4C12-A580-7E19D549530D}" dt="2024-07-19T06:57:22.642" v="583" actId="123"/>
          <ac:spMkLst>
            <pc:docMk/>
            <pc:sldMk cId="781584985" sldId="2266"/>
            <ac:spMk id="5" creationId="{999BDFEB-A206-85C4-0B59-16FA7C6E0FFE}"/>
          </ac:spMkLst>
        </pc:spChg>
        <pc:spChg chg="mod">
          <ac:chgData name="Aruzhan Bakhazatkhanova" userId="c778e498-cb36-475a-b96c-6ba69ac00b7a" providerId="ADAL" clId="{732B87BF-D132-4C12-A580-7E19D549530D}" dt="2024-07-19T06:21:49.721" v="28" actId="20577"/>
          <ac:spMkLst>
            <pc:docMk/>
            <pc:sldMk cId="781584985" sldId="2266"/>
            <ac:spMk id="8" creationId="{21532806-4319-7634-0875-E11A9151F768}"/>
          </ac:spMkLst>
        </pc:spChg>
        <pc:spChg chg="mod">
          <ac:chgData name="Aruzhan Bakhazatkhanova" userId="c778e498-cb36-475a-b96c-6ba69ac00b7a" providerId="ADAL" clId="{732B87BF-D132-4C12-A580-7E19D549530D}" dt="2024-07-19T06:57:18.995" v="582" actId="123"/>
          <ac:spMkLst>
            <pc:docMk/>
            <pc:sldMk cId="781584985" sldId="2266"/>
            <ac:spMk id="11" creationId="{B6C57508-C52E-3266-815E-55AE51AD1546}"/>
          </ac:spMkLst>
        </pc:spChg>
        <pc:spChg chg="mod">
          <ac:chgData name="Aruzhan Bakhazatkhanova" userId="c778e498-cb36-475a-b96c-6ba69ac00b7a" providerId="ADAL" clId="{732B87BF-D132-4C12-A580-7E19D549530D}" dt="2024-07-19T06:22:52.142" v="74" actId="20577"/>
          <ac:spMkLst>
            <pc:docMk/>
            <pc:sldMk cId="781584985" sldId="2266"/>
            <ac:spMk id="13" creationId="{AC84348C-3720-FEF6-79E9-BB1361A905E8}"/>
          </ac:spMkLst>
        </pc:spChg>
        <pc:spChg chg="mod">
          <ac:chgData name="Aruzhan Bakhazatkhanova" userId="c778e498-cb36-475a-b96c-6ba69ac00b7a" providerId="ADAL" clId="{732B87BF-D132-4C12-A580-7E19D549530D}" dt="2024-07-19T06:22:35.731" v="60" actId="20577"/>
          <ac:spMkLst>
            <pc:docMk/>
            <pc:sldMk cId="781584985" sldId="2266"/>
            <ac:spMk id="16" creationId="{E1F1BB03-B6CE-0826-CB63-3466F6634D68}"/>
          </ac:spMkLst>
        </pc:spChg>
        <pc:spChg chg="mod">
          <ac:chgData name="Aruzhan Bakhazatkhanova" userId="c778e498-cb36-475a-b96c-6ba69ac00b7a" providerId="ADAL" clId="{732B87BF-D132-4C12-A580-7E19D549530D}" dt="2024-07-19T06:22:45.199" v="67" actId="20577"/>
          <ac:spMkLst>
            <pc:docMk/>
            <pc:sldMk cId="781584985" sldId="2266"/>
            <ac:spMk id="18" creationId="{662206EC-626D-5433-AAE8-837DEE0D910E}"/>
          </ac:spMkLst>
        </pc:spChg>
      </pc:sldChg>
      <pc:sldChg chg="modSp mod">
        <pc:chgData name="Aruzhan Bakhazatkhanova" userId="c778e498-cb36-475a-b96c-6ba69ac00b7a" providerId="ADAL" clId="{732B87BF-D132-4C12-A580-7E19D549530D}" dt="2024-07-19T06:33:07.636" v="219" actId="27918"/>
        <pc:sldMkLst>
          <pc:docMk/>
          <pc:sldMk cId="2234924895" sldId="2267"/>
        </pc:sldMkLst>
        <pc:spChg chg="mod">
          <ac:chgData name="Aruzhan Bakhazatkhanova" userId="c778e498-cb36-475a-b96c-6ba69ac00b7a" providerId="ADAL" clId="{732B87BF-D132-4C12-A580-7E19D549530D}" dt="2024-07-19T06:31:55.837" v="198" actId="20577"/>
          <ac:spMkLst>
            <pc:docMk/>
            <pc:sldMk cId="2234924895" sldId="2267"/>
            <ac:spMk id="4" creationId="{D9A7DC92-E6E0-F85D-D643-D022689C0378}"/>
          </ac:spMkLst>
        </pc:spChg>
        <pc:spChg chg="mod">
          <ac:chgData name="Aruzhan Bakhazatkhanova" userId="c778e498-cb36-475a-b96c-6ba69ac00b7a" providerId="ADAL" clId="{732B87BF-D132-4C12-A580-7E19D549530D}" dt="2024-07-19T06:32:45.658" v="213" actId="20577"/>
          <ac:spMkLst>
            <pc:docMk/>
            <pc:sldMk cId="2234924895" sldId="2267"/>
            <ac:spMk id="5" creationId="{B2FD64AC-5415-C72A-A1E8-44F5EDF29AEC}"/>
          </ac:spMkLst>
        </pc:spChg>
        <pc:spChg chg="mod">
          <ac:chgData name="Aruzhan Bakhazatkhanova" userId="c778e498-cb36-475a-b96c-6ba69ac00b7a" providerId="ADAL" clId="{732B87BF-D132-4C12-A580-7E19D549530D}" dt="2024-07-19T06:32:05.446" v="207" actId="20577"/>
          <ac:spMkLst>
            <pc:docMk/>
            <pc:sldMk cId="2234924895" sldId="2267"/>
            <ac:spMk id="13" creationId="{4B231C19-6581-F296-4C38-7C9083947714}"/>
          </ac:spMkLst>
        </pc:spChg>
        <pc:spChg chg="mod">
          <ac:chgData name="Aruzhan Bakhazatkhanova" userId="c778e498-cb36-475a-b96c-6ba69ac00b7a" providerId="ADAL" clId="{732B87BF-D132-4C12-A580-7E19D549530D}" dt="2024-07-19T06:32:52.767" v="215" actId="20577"/>
          <ac:spMkLst>
            <pc:docMk/>
            <pc:sldMk cId="2234924895" sldId="2267"/>
            <ac:spMk id="36" creationId="{03560DEE-38F3-4857-D339-93070E0C0A9F}"/>
          </ac:spMkLst>
        </pc:spChg>
        <pc:spChg chg="mod">
          <ac:chgData name="Aruzhan Bakhazatkhanova" userId="c778e498-cb36-475a-b96c-6ba69ac00b7a" providerId="ADAL" clId="{732B87BF-D132-4C12-A580-7E19D549530D}" dt="2024-07-19T06:30:52.570" v="196" actId="20577"/>
          <ac:spMkLst>
            <pc:docMk/>
            <pc:sldMk cId="2234924895" sldId="2267"/>
            <ac:spMk id="68" creationId="{2ECA0113-5FE2-F5DA-CE28-D2A789698078}"/>
          </ac:spMkLst>
        </pc:spChg>
      </pc:sldChg>
      <pc:sldChg chg="modSp mod">
        <pc:chgData name="Aruzhan Bakhazatkhanova" userId="c778e498-cb36-475a-b96c-6ba69ac00b7a" providerId="ADAL" clId="{732B87BF-D132-4C12-A580-7E19D549530D}" dt="2024-07-19T06:38:48.002" v="319" actId="27918"/>
        <pc:sldMkLst>
          <pc:docMk/>
          <pc:sldMk cId="3764251038" sldId="2268"/>
        </pc:sldMkLst>
        <pc:spChg chg="mod">
          <ac:chgData name="Aruzhan Bakhazatkhanova" userId="c778e498-cb36-475a-b96c-6ba69ac00b7a" providerId="ADAL" clId="{732B87BF-D132-4C12-A580-7E19D549530D}" dt="2024-07-19T06:37:26.269" v="310" actId="20577"/>
          <ac:spMkLst>
            <pc:docMk/>
            <pc:sldMk cId="3764251038" sldId="2268"/>
            <ac:spMk id="3" creationId="{2464D1AF-2F8C-D101-933F-CCE60EFF3C3C}"/>
          </ac:spMkLst>
        </pc:spChg>
        <pc:spChg chg="mod">
          <ac:chgData name="Aruzhan Bakhazatkhanova" userId="c778e498-cb36-475a-b96c-6ba69ac00b7a" providerId="ADAL" clId="{732B87BF-D132-4C12-A580-7E19D549530D}" dt="2024-07-19T06:33:46.564" v="234" actId="20577"/>
          <ac:spMkLst>
            <pc:docMk/>
            <pc:sldMk cId="3764251038" sldId="2268"/>
            <ac:spMk id="4" creationId="{D9A7DC92-E6E0-F85D-D643-D022689C0378}"/>
          </ac:spMkLst>
        </pc:spChg>
        <pc:spChg chg="mod">
          <ac:chgData name="Aruzhan Bakhazatkhanova" userId="c778e498-cb36-475a-b96c-6ba69ac00b7a" providerId="ADAL" clId="{732B87BF-D132-4C12-A580-7E19D549530D}" dt="2024-07-19T06:33:42.657" v="230" actId="20577"/>
          <ac:spMkLst>
            <pc:docMk/>
            <pc:sldMk cId="3764251038" sldId="2268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732B87BF-D132-4C12-A580-7E19D549530D}" dt="2024-07-19T06:36:20.501" v="267" actId="20577"/>
          <ac:spMkLst>
            <pc:docMk/>
            <pc:sldMk cId="3764251038" sldId="2268"/>
            <ac:spMk id="11" creationId="{9E498C00-C43D-0A23-C201-5C4C7947DCB6}"/>
          </ac:spMkLst>
        </pc:spChg>
        <pc:spChg chg="mod">
          <ac:chgData name="Aruzhan Bakhazatkhanova" userId="c778e498-cb36-475a-b96c-6ba69ac00b7a" providerId="ADAL" clId="{732B87BF-D132-4C12-A580-7E19D549530D}" dt="2024-07-19T06:35:26.307" v="240"/>
          <ac:spMkLst>
            <pc:docMk/>
            <pc:sldMk cId="3764251038" sldId="2268"/>
            <ac:spMk id="16" creationId="{975BF9CA-45EA-6DF8-63AF-61D1D382E232}"/>
          </ac:spMkLst>
        </pc:spChg>
        <pc:spChg chg="mod">
          <ac:chgData name="Aruzhan Bakhazatkhanova" userId="c778e498-cb36-475a-b96c-6ba69ac00b7a" providerId="ADAL" clId="{732B87BF-D132-4C12-A580-7E19D549530D}" dt="2024-07-19T06:36:26.040" v="269" actId="20577"/>
          <ac:spMkLst>
            <pc:docMk/>
            <pc:sldMk cId="3764251038" sldId="2268"/>
            <ac:spMk id="40" creationId="{6D96C172-6369-859E-2898-AC120AD1621B}"/>
          </ac:spMkLst>
        </pc:spChg>
        <pc:spChg chg="mod">
          <ac:chgData name="Aruzhan Bakhazatkhanova" userId="c778e498-cb36-475a-b96c-6ba69ac00b7a" providerId="ADAL" clId="{732B87BF-D132-4C12-A580-7E19D549530D}" dt="2024-07-19T06:36:30.615" v="271" actId="20577"/>
          <ac:spMkLst>
            <pc:docMk/>
            <pc:sldMk cId="3764251038" sldId="2268"/>
            <ac:spMk id="54" creationId="{0216701C-4083-F6B4-3AB3-8D95A9B897B9}"/>
          </ac:spMkLst>
        </pc:spChg>
        <pc:spChg chg="mod">
          <ac:chgData name="Aruzhan Bakhazatkhanova" userId="c778e498-cb36-475a-b96c-6ba69ac00b7a" providerId="ADAL" clId="{732B87BF-D132-4C12-A580-7E19D549530D}" dt="2024-07-19T06:36:05.467" v="257" actId="20577"/>
          <ac:spMkLst>
            <pc:docMk/>
            <pc:sldMk cId="3764251038" sldId="2268"/>
            <ac:spMk id="58" creationId="{23AEFC16-E431-4148-FFC3-42AF423F00C3}"/>
          </ac:spMkLst>
        </pc:spChg>
        <pc:spChg chg="mod">
          <ac:chgData name="Aruzhan Bakhazatkhanova" userId="c778e498-cb36-475a-b96c-6ba69ac00b7a" providerId="ADAL" clId="{732B87BF-D132-4C12-A580-7E19D549530D}" dt="2024-07-19T06:36:42.568" v="279" actId="20577"/>
          <ac:spMkLst>
            <pc:docMk/>
            <pc:sldMk cId="3764251038" sldId="2268"/>
            <ac:spMk id="62" creationId="{F74FEED1-7820-A185-1136-0619D1D590DA}"/>
          </ac:spMkLst>
        </pc:spChg>
        <pc:spChg chg="mod">
          <ac:chgData name="Aruzhan Bakhazatkhanova" userId="c778e498-cb36-475a-b96c-6ba69ac00b7a" providerId="ADAL" clId="{732B87BF-D132-4C12-A580-7E19D549530D}" dt="2024-07-19T06:36:50.780" v="289" actId="20577"/>
          <ac:spMkLst>
            <pc:docMk/>
            <pc:sldMk cId="3764251038" sldId="2268"/>
            <ac:spMk id="66" creationId="{8BEAD7E1-D24D-18B8-A619-E6083CD77C38}"/>
          </ac:spMkLst>
        </pc:spChg>
        <pc:spChg chg="mod">
          <ac:chgData name="Aruzhan Bakhazatkhanova" userId="c778e498-cb36-475a-b96c-6ba69ac00b7a" providerId="ADAL" clId="{732B87BF-D132-4C12-A580-7E19D549530D}" dt="2024-07-19T06:36:59.659" v="293" actId="20577"/>
          <ac:spMkLst>
            <pc:docMk/>
            <pc:sldMk cId="3764251038" sldId="2268"/>
            <ac:spMk id="70" creationId="{558336F2-F5F8-2FE1-F847-3B2297B27C2E}"/>
          </ac:spMkLst>
        </pc:spChg>
        <pc:spChg chg="mod">
          <ac:chgData name="Aruzhan Bakhazatkhanova" userId="c778e498-cb36-475a-b96c-6ba69ac00b7a" providerId="ADAL" clId="{732B87BF-D132-4C12-A580-7E19D549530D}" dt="2024-07-19T06:37:06.844" v="298" actId="20577"/>
          <ac:spMkLst>
            <pc:docMk/>
            <pc:sldMk cId="3764251038" sldId="2268"/>
            <ac:spMk id="74" creationId="{ACC4AD74-2E37-1282-B8D4-CBC131E4DB0C}"/>
          </ac:spMkLst>
        </pc:spChg>
        <pc:spChg chg="mod">
          <ac:chgData name="Aruzhan Bakhazatkhanova" userId="c778e498-cb36-475a-b96c-6ba69ac00b7a" providerId="ADAL" clId="{732B87BF-D132-4C12-A580-7E19D549530D}" dt="2024-07-19T06:37:12.927" v="302" actId="20577"/>
          <ac:spMkLst>
            <pc:docMk/>
            <pc:sldMk cId="3764251038" sldId="2268"/>
            <ac:spMk id="78" creationId="{6CBB1D02-915C-0E00-3724-7909A516E280}"/>
          </ac:spMkLst>
        </pc:spChg>
        <pc:spChg chg="mod">
          <ac:chgData name="Aruzhan Bakhazatkhanova" userId="c778e498-cb36-475a-b96c-6ba69ac00b7a" providerId="ADAL" clId="{732B87BF-D132-4C12-A580-7E19D549530D}" dt="2024-07-19T06:37:18.638" v="304" actId="20577"/>
          <ac:spMkLst>
            <pc:docMk/>
            <pc:sldMk cId="3764251038" sldId="2268"/>
            <ac:spMk id="82" creationId="{2F6A6B7D-4DE6-E2C2-089C-3DD877A8FA91}"/>
          </ac:spMkLst>
        </pc:spChg>
      </pc:sldChg>
      <pc:sldChg chg="addSp delSp modSp mod">
        <pc:chgData name="Aruzhan Bakhazatkhanova" userId="c778e498-cb36-475a-b96c-6ba69ac00b7a" providerId="ADAL" clId="{732B87BF-D132-4C12-A580-7E19D549530D}" dt="2024-07-19T09:13:31.513" v="825" actId="20577"/>
        <pc:sldMkLst>
          <pc:docMk/>
          <pc:sldMk cId="2575797221" sldId="2269"/>
        </pc:sldMkLst>
        <pc:spChg chg="add mod">
          <ac:chgData name="Aruzhan Bakhazatkhanova" userId="c778e498-cb36-475a-b96c-6ba69ac00b7a" providerId="ADAL" clId="{732B87BF-D132-4C12-A580-7E19D549530D}" dt="2024-07-19T06:52:47.875" v="501" actId="1076"/>
          <ac:spMkLst>
            <pc:docMk/>
            <pc:sldMk cId="2575797221" sldId="2269"/>
            <ac:spMk id="2" creationId="{12E56D24-0C45-5495-BE4F-E6E492CF6CF0}"/>
          </ac:spMkLst>
        </pc:spChg>
        <pc:spChg chg="add mod">
          <ac:chgData name="Aruzhan Bakhazatkhanova" userId="c778e498-cb36-475a-b96c-6ba69ac00b7a" providerId="ADAL" clId="{732B87BF-D132-4C12-A580-7E19D549530D}" dt="2024-07-19T06:54:07.392" v="544" actId="1076"/>
          <ac:spMkLst>
            <pc:docMk/>
            <pc:sldMk cId="2575797221" sldId="2269"/>
            <ac:spMk id="3" creationId="{181624B7-D2F2-5437-4667-6C2A8B0527C5}"/>
          </ac:spMkLst>
        </pc:spChg>
        <pc:spChg chg="mod">
          <ac:chgData name="Aruzhan Bakhazatkhanova" userId="c778e498-cb36-475a-b96c-6ba69ac00b7a" providerId="ADAL" clId="{732B87BF-D132-4C12-A580-7E19D549530D}" dt="2024-07-19T06:54:28.359" v="551"/>
          <ac:spMkLst>
            <pc:docMk/>
            <pc:sldMk cId="2575797221" sldId="2269"/>
            <ac:spMk id="4" creationId="{CDF67F82-5B8D-EF69-7B3C-8AF8E01550E9}"/>
          </ac:spMkLst>
        </pc:spChg>
        <pc:spChg chg="mod">
          <ac:chgData name="Aruzhan Bakhazatkhanova" userId="c778e498-cb36-475a-b96c-6ba69ac00b7a" providerId="ADAL" clId="{732B87BF-D132-4C12-A580-7E19D549530D}" dt="2024-07-19T06:53:14.109" v="520" actId="20577"/>
          <ac:spMkLst>
            <pc:docMk/>
            <pc:sldMk cId="2575797221" sldId="2269"/>
            <ac:spMk id="6" creationId="{4D2D685B-956E-9715-3DAA-413C293BF497}"/>
          </ac:spMkLst>
        </pc:spChg>
        <pc:spChg chg="mod">
          <ac:chgData name="Aruzhan Bakhazatkhanova" userId="c778e498-cb36-475a-b96c-6ba69ac00b7a" providerId="ADAL" clId="{732B87BF-D132-4C12-A580-7E19D549530D}" dt="2024-07-19T09:13:27.658" v="823" actId="20577"/>
          <ac:spMkLst>
            <pc:docMk/>
            <pc:sldMk cId="2575797221" sldId="2269"/>
            <ac:spMk id="7" creationId="{9B66BC15-C7C9-BCAE-95C9-423B050F9920}"/>
          </ac:spMkLst>
        </pc:spChg>
        <pc:spChg chg="mod">
          <ac:chgData name="Aruzhan Bakhazatkhanova" userId="c778e498-cb36-475a-b96c-6ba69ac00b7a" providerId="ADAL" clId="{732B87BF-D132-4C12-A580-7E19D549530D}" dt="2024-07-19T06:53:54.884" v="541" actId="1076"/>
          <ac:spMkLst>
            <pc:docMk/>
            <pc:sldMk cId="2575797221" sldId="2269"/>
            <ac:spMk id="11" creationId="{748D97E4-FB6F-E7CB-A0AE-D0D5AC81A423}"/>
          </ac:spMkLst>
        </pc:spChg>
        <pc:spChg chg="mod">
          <ac:chgData name="Aruzhan Bakhazatkhanova" userId="c778e498-cb36-475a-b96c-6ba69ac00b7a" providerId="ADAL" clId="{732B87BF-D132-4C12-A580-7E19D549530D}" dt="2024-07-19T06:53:37.907" v="533" actId="20577"/>
          <ac:spMkLst>
            <pc:docMk/>
            <pc:sldMk cId="2575797221" sldId="2269"/>
            <ac:spMk id="12" creationId="{A76CF317-8F68-B2F1-3D06-2EF2070A04BC}"/>
          </ac:spMkLst>
        </pc:spChg>
        <pc:spChg chg="mod">
          <ac:chgData name="Aruzhan Bakhazatkhanova" userId="c778e498-cb36-475a-b96c-6ba69ac00b7a" providerId="ADAL" clId="{732B87BF-D132-4C12-A580-7E19D549530D}" dt="2024-07-19T06:53:20.015" v="528" actId="20577"/>
          <ac:spMkLst>
            <pc:docMk/>
            <pc:sldMk cId="2575797221" sldId="2269"/>
            <ac:spMk id="22" creationId="{1F959469-4747-9E14-9895-BDBF7B7FE1B9}"/>
          </ac:spMkLst>
        </pc:spChg>
        <pc:spChg chg="mod">
          <ac:chgData name="Aruzhan Bakhazatkhanova" userId="c778e498-cb36-475a-b96c-6ba69ac00b7a" providerId="ADAL" clId="{732B87BF-D132-4C12-A580-7E19D549530D}" dt="2024-07-19T09:13:31.513" v="825" actId="20577"/>
          <ac:spMkLst>
            <pc:docMk/>
            <pc:sldMk cId="2575797221" sldId="2269"/>
            <ac:spMk id="37" creationId="{22356F5B-BC1B-07FD-6EF0-F91E21834476}"/>
          </ac:spMkLst>
        </pc:spChg>
        <pc:spChg chg="mod">
          <ac:chgData name="Aruzhan Bakhazatkhanova" userId="c778e498-cb36-475a-b96c-6ba69ac00b7a" providerId="ADAL" clId="{732B87BF-D132-4C12-A580-7E19D549530D}" dt="2024-07-19T06:53:43.122" v="539" actId="20577"/>
          <ac:spMkLst>
            <pc:docMk/>
            <pc:sldMk cId="2575797221" sldId="2269"/>
            <ac:spMk id="38" creationId="{4A77129F-0CEE-7351-EC4A-9321C484638E}"/>
          </ac:spMkLst>
        </pc:spChg>
        <pc:spChg chg="mod">
          <ac:chgData name="Aruzhan Bakhazatkhanova" userId="c778e498-cb36-475a-b96c-6ba69ac00b7a" providerId="ADAL" clId="{732B87BF-D132-4C12-A580-7E19D549530D}" dt="2024-07-19T06:53:34.136" v="530" actId="1076"/>
          <ac:spMkLst>
            <pc:docMk/>
            <pc:sldMk cId="2575797221" sldId="2269"/>
            <ac:spMk id="40" creationId="{059BE8AB-FD6E-1DB3-FFF1-D53DE4C2F007}"/>
          </ac:spMkLst>
        </pc:spChg>
        <pc:spChg chg="mod topLvl">
          <ac:chgData name="Aruzhan Bakhazatkhanova" userId="c778e498-cb36-475a-b96c-6ba69ac00b7a" providerId="ADAL" clId="{732B87BF-D132-4C12-A580-7E19D549530D}" dt="2024-07-19T06:54:13.219" v="550" actId="20577"/>
          <ac:spMkLst>
            <pc:docMk/>
            <pc:sldMk cId="2575797221" sldId="2269"/>
            <ac:spMk id="41" creationId="{1B76418E-E0A3-2871-3BA1-41DE1238C80A}"/>
          </ac:spMkLst>
        </pc:spChg>
        <pc:spChg chg="del topLvl">
          <ac:chgData name="Aruzhan Bakhazatkhanova" userId="c778e498-cb36-475a-b96c-6ba69ac00b7a" providerId="ADAL" clId="{732B87BF-D132-4C12-A580-7E19D549530D}" dt="2024-07-19T06:53:49.696" v="540" actId="478"/>
          <ac:spMkLst>
            <pc:docMk/>
            <pc:sldMk cId="2575797221" sldId="2269"/>
            <ac:spMk id="42" creationId="{671F7A4F-6454-C2B9-7580-B73CCF50DB3A}"/>
          </ac:spMkLst>
        </pc:spChg>
        <pc:spChg chg="mod">
          <ac:chgData name="Aruzhan Bakhazatkhanova" userId="c778e498-cb36-475a-b96c-6ba69ac00b7a" providerId="ADAL" clId="{732B87BF-D132-4C12-A580-7E19D549530D}" dt="2024-07-19T06:52:24.962" v="495" actId="1076"/>
          <ac:spMkLst>
            <pc:docMk/>
            <pc:sldMk cId="2575797221" sldId="2269"/>
            <ac:spMk id="44" creationId="{42055157-3FB9-B2DD-04E8-9BE44F1F2736}"/>
          </ac:spMkLst>
        </pc:spChg>
        <pc:spChg chg="mod">
          <ac:chgData name="Aruzhan Bakhazatkhanova" userId="c778e498-cb36-475a-b96c-6ba69ac00b7a" providerId="ADAL" clId="{732B87BF-D132-4C12-A580-7E19D549530D}" dt="2024-07-19T06:51:25.777" v="485" actId="20577"/>
          <ac:spMkLst>
            <pc:docMk/>
            <pc:sldMk cId="2575797221" sldId="2269"/>
            <ac:spMk id="45" creationId="{944499C0-9F55-32DD-B168-3DF315DDE32A}"/>
          </ac:spMkLst>
        </pc:spChg>
        <pc:spChg chg="mod">
          <ac:chgData name="Aruzhan Bakhazatkhanova" userId="c778e498-cb36-475a-b96c-6ba69ac00b7a" providerId="ADAL" clId="{732B87BF-D132-4C12-A580-7E19D549530D}" dt="2024-07-19T06:51:41.880" v="487" actId="1076"/>
          <ac:spMkLst>
            <pc:docMk/>
            <pc:sldMk cId="2575797221" sldId="2269"/>
            <ac:spMk id="47" creationId="{7CDA641A-90F2-0586-9EF4-2F29CFFCD52A}"/>
          </ac:spMkLst>
        </pc:spChg>
        <pc:spChg chg="mod">
          <ac:chgData name="Aruzhan Bakhazatkhanova" userId="c778e498-cb36-475a-b96c-6ba69ac00b7a" providerId="ADAL" clId="{732B87BF-D132-4C12-A580-7E19D549530D}" dt="2024-07-19T06:52:04.946" v="492" actId="20577"/>
          <ac:spMkLst>
            <pc:docMk/>
            <pc:sldMk cId="2575797221" sldId="2269"/>
            <ac:spMk id="48" creationId="{711DEC4B-DAF1-CABF-F614-99639F21B7D9}"/>
          </ac:spMkLst>
        </pc:spChg>
        <pc:spChg chg="del mod topLvl">
          <ac:chgData name="Aruzhan Bakhazatkhanova" userId="c778e498-cb36-475a-b96c-6ba69ac00b7a" providerId="ADAL" clId="{732B87BF-D132-4C12-A580-7E19D549530D}" dt="2024-07-19T06:52:13.286" v="494" actId="478"/>
          <ac:spMkLst>
            <pc:docMk/>
            <pc:sldMk cId="2575797221" sldId="2269"/>
            <ac:spMk id="50" creationId="{C7654679-D958-FF89-D3DF-E026B4F18A57}"/>
          </ac:spMkLst>
        </pc:spChg>
        <pc:spChg chg="mod topLvl">
          <ac:chgData name="Aruzhan Bakhazatkhanova" userId="c778e498-cb36-475a-b96c-6ba69ac00b7a" providerId="ADAL" clId="{732B87BF-D132-4C12-A580-7E19D549530D}" dt="2024-07-19T06:52:29.900" v="497" actId="20577"/>
          <ac:spMkLst>
            <pc:docMk/>
            <pc:sldMk cId="2575797221" sldId="2269"/>
            <ac:spMk id="51" creationId="{7DBE0DEA-8478-9D58-6C91-3D2064B751E9}"/>
          </ac:spMkLst>
        </pc:spChg>
        <pc:spChg chg="mod">
          <ac:chgData name="Aruzhan Bakhazatkhanova" userId="c778e498-cb36-475a-b96c-6ba69ac00b7a" providerId="ADAL" clId="{732B87BF-D132-4C12-A580-7E19D549530D}" dt="2024-07-19T06:52:53.458" v="509" actId="20577"/>
          <ac:spMkLst>
            <pc:docMk/>
            <pc:sldMk cId="2575797221" sldId="2269"/>
            <ac:spMk id="53" creationId="{D5965B4C-A8D8-46F2-C547-CF686E2F5FE8}"/>
          </ac:spMkLst>
        </pc:spChg>
        <pc:spChg chg="mod">
          <ac:chgData name="Aruzhan Bakhazatkhanova" userId="c778e498-cb36-475a-b96c-6ba69ac00b7a" providerId="ADAL" clId="{732B87BF-D132-4C12-A580-7E19D549530D}" dt="2024-07-19T06:53:59.338" v="542" actId="1076"/>
          <ac:spMkLst>
            <pc:docMk/>
            <pc:sldMk cId="2575797221" sldId="2269"/>
            <ac:spMk id="54" creationId="{7FCAACB0-BE87-63B6-3F0F-422BAC2C2E3F}"/>
          </ac:spMkLst>
        </pc:spChg>
        <pc:spChg chg="mod">
          <ac:chgData name="Aruzhan Bakhazatkhanova" userId="c778e498-cb36-475a-b96c-6ba69ac00b7a" providerId="ADAL" clId="{732B87BF-D132-4C12-A580-7E19D549530D}" dt="2024-07-19T09:13:19.873" v="820" actId="6549"/>
          <ac:spMkLst>
            <pc:docMk/>
            <pc:sldMk cId="2575797221" sldId="2269"/>
            <ac:spMk id="56" creationId="{DF47ABC3-3FA4-9896-29B6-7D68FD11F7B4}"/>
          </ac:spMkLst>
        </pc:spChg>
        <pc:spChg chg="mod">
          <ac:chgData name="Aruzhan Bakhazatkhanova" userId="c778e498-cb36-475a-b96c-6ba69ac00b7a" providerId="ADAL" clId="{732B87BF-D132-4C12-A580-7E19D549530D}" dt="2024-07-19T06:53:03.985" v="510" actId="13926"/>
          <ac:spMkLst>
            <pc:docMk/>
            <pc:sldMk cId="2575797221" sldId="2269"/>
            <ac:spMk id="57" creationId="{23251861-44F5-2E39-DA4B-D35202BF7DC8}"/>
          </ac:spMkLst>
        </pc:spChg>
        <pc:grpChg chg="del">
          <ac:chgData name="Aruzhan Bakhazatkhanova" userId="c778e498-cb36-475a-b96c-6ba69ac00b7a" providerId="ADAL" clId="{732B87BF-D132-4C12-A580-7E19D549530D}" dt="2024-07-19T06:52:13.286" v="494" actId="478"/>
          <ac:grpSpMkLst>
            <pc:docMk/>
            <pc:sldMk cId="2575797221" sldId="2269"/>
            <ac:grpSpMk id="49" creationId="{ACA37DC7-92DF-DC26-A3E0-9E61263863D3}"/>
          </ac:grpSpMkLst>
        </pc:grpChg>
        <pc:grpChg chg="del">
          <ac:chgData name="Aruzhan Bakhazatkhanova" userId="c778e498-cb36-475a-b96c-6ba69ac00b7a" providerId="ADAL" clId="{732B87BF-D132-4C12-A580-7E19D549530D}" dt="2024-07-19T09:13:24.552" v="821" actId="478"/>
          <ac:grpSpMkLst>
            <pc:docMk/>
            <pc:sldMk cId="2575797221" sldId="2269"/>
            <ac:grpSpMk id="55" creationId="{0D862728-E8B7-1D10-BD5B-0B135BDDE3DD}"/>
          </ac:grpSpMkLst>
        </pc:grpChg>
        <pc:grpChg chg="del">
          <ac:chgData name="Aruzhan Bakhazatkhanova" userId="c778e498-cb36-475a-b96c-6ba69ac00b7a" providerId="ADAL" clId="{732B87BF-D132-4C12-A580-7E19D549530D}" dt="2024-07-19T06:53:49.696" v="540" actId="478"/>
          <ac:grpSpMkLst>
            <pc:docMk/>
            <pc:sldMk cId="2575797221" sldId="2269"/>
            <ac:grpSpMk id="60" creationId="{30DEE934-C260-F5FD-9242-6CBB3CF2FE50}"/>
          </ac:grpSpMkLst>
        </pc:grpChg>
      </pc:sldChg>
    </pc:docChg>
  </pc:docChgLst>
  <pc:docChgLst>
    <pc:chgData name="Aruzhan Bakhazatkhanova" userId="c778e498-cb36-475a-b96c-6ba69ac00b7a" providerId="ADAL" clId="{C30BFBF9-0C7B-4093-83CF-1E450F48098A}"/>
    <pc:docChg chg="undo custSel addSld delSld modSld">
      <pc:chgData name="Aruzhan Bakhazatkhanova" userId="c778e498-cb36-475a-b96c-6ba69ac00b7a" providerId="ADAL" clId="{C30BFBF9-0C7B-4093-83CF-1E450F48098A}" dt="2024-09-17T04:28:03.580" v="879" actId="13926"/>
      <pc:docMkLst>
        <pc:docMk/>
      </pc:docMkLst>
      <pc:sldChg chg="modSp mod">
        <pc:chgData name="Aruzhan Bakhazatkhanova" userId="c778e498-cb36-475a-b96c-6ba69ac00b7a" providerId="ADAL" clId="{C30BFBF9-0C7B-4093-83CF-1E450F48098A}" dt="2024-09-16T08:58:51.254" v="14" actId="20577"/>
        <pc:sldMkLst>
          <pc:docMk/>
          <pc:sldMk cId="15871163" sldId="257"/>
        </pc:sldMkLst>
        <pc:spChg chg="mod">
          <ac:chgData name="Aruzhan Bakhazatkhanova" userId="c778e498-cb36-475a-b96c-6ba69ac00b7a" providerId="ADAL" clId="{C30BFBF9-0C7B-4093-83CF-1E450F48098A}" dt="2024-09-16T08:58:51.254" v="14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modSp mod">
        <pc:chgData name="Aruzhan Bakhazatkhanova" userId="c778e498-cb36-475a-b96c-6ba69ac00b7a" providerId="ADAL" clId="{C30BFBF9-0C7B-4093-83CF-1E450F48098A}" dt="2024-09-16T10:17:08.266" v="385" actId="20577"/>
        <pc:sldMkLst>
          <pc:docMk/>
          <pc:sldMk cId="4078718328" sldId="2184"/>
        </pc:sldMkLst>
        <pc:spChg chg="mod">
          <ac:chgData name="Aruzhan Bakhazatkhanova" userId="c778e498-cb36-475a-b96c-6ba69ac00b7a" providerId="ADAL" clId="{C30BFBF9-0C7B-4093-83CF-1E450F48098A}" dt="2024-09-16T09:17:32.924" v="285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C30BFBF9-0C7B-4093-83CF-1E450F48098A}" dt="2024-09-16T09:19:34.120" v="328" actId="20577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Aruzhan Bakhazatkhanova" userId="c778e498-cb36-475a-b96c-6ba69ac00b7a" providerId="ADAL" clId="{C30BFBF9-0C7B-4093-83CF-1E450F48098A}" dt="2024-09-16T10:17:08.266" v="385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Aruzhan Bakhazatkhanova" userId="c778e498-cb36-475a-b96c-6ba69ac00b7a" providerId="ADAL" clId="{C30BFBF9-0C7B-4093-83CF-1E450F48098A}" dt="2024-09-16T09:19:24.864" v="324" actId="20577"/>
          <ac:spMkLst>
            <pc:docMk/>
            <pc:sldMk cId="4078718328" sldId="2184"/>
            <ac:spMk id="31" creationId="{1B43C88C-97F7-E43F-2336-6CFB022A3A87}"/>
          </ac:spMkLst>
        </pc:spChg>
      </pc:sldChg>
      <pc:sldChg chg="modSp mod">
        <pc:chgData name="Aruzhan Bakhazatkhanova" userId="c778e498-cb36-475a-b96c-6ba69ac00b7a" providerId="ADAL" clId="{C30BFBF9-0C7B-4093-83CF-1E450F48098A}" dt="2024-09-16T10:41:36.796" v="643" actId="20577"/>
        <pc:sldMkLst>
          <pc:docMk/>
          <pc:sldMk cId="2298565077" sldId="2186"/>
        </pc:sldMkLst>
        <pc:spChg chg="mod">
          <ac:chgData name="Aruzhan Bakhazatkhanova" userId="c778e498-cb36-475a-b96c-6ba69ac00b7a" providerId="ADAL" clId="{C30BFBF9-0C7B-4093-83CF-1E450F48098A}" dt="2024-09-16T10:31:56.572" v="554" actId="20577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Aruzhan Bakhazatkhanova" userId="c778e498-cb36-475a-b96c-6ba69ac00b7a" providerId="ADAL" clId="{C30BFBF9-0C7B-4093-83CF-1E450F48098A}" dt="2024-09-16T10:41:36.796" v="643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C30BFBF9-0C7B-4093-83CF-1E450F48098A}" dt="2024-09-16T10:31:24.695" v="546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delSp modSp mod">
        <pc:chgData name="Aruzhan Bakhazatkhanova" userId="c778e498-cb36-475a-b96c-6ba69ac00b7a" providerId="ADAL" clId="{C30BFBF9-0C7B-4093-83CF-1E450F48098A}" dt="2024-09-16T10:28:50.454" v="525" actId="1036"/>
        <pc:sldMkLst>
          <pc:docMk/>
          <pc:sldMk cId="1727869833" sldId="2187"/>
        </pc:sldMkLst>
        <pc:spChg chg="mod">
          <ac:chgData name="Aruzhan Bakhazatkhanova" userId="c778e498-cb36-475a-b96c-6ba69ac00b7a" providerId="ADAL" clId="{C30BFBF9-0C7B-4093-83CF-1E450F48098A}" dt="2024-09-16T10:23:32.315" v="445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Aruzhan Bakhazatkhanova" userId="c778e498-cb36-475a-b96c-6ba69ac00b7a" providerId="ADAL" clId="{C30BFBF9-0C7B-4093-83CF-1E450F48098A}" dt="2024-09-16T10:24:44.524" v="473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Aruzhan Bakhazatkhanova" userId="c778e498-cb36-475a-b96c-6ba69ac00b7a" providerId="ADAL" clId="{C30BFBF9-0C7B-4093-83CF-1E450F48098A}" dt="2024-09-16T10:23:26.037" v="441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C30BFBF9-0C7B-4093-83CF-1E450F48098A}" dt="2024-09-16T10:27:50.682" v="510" actId="20577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Aruzhan Bakhazatkhanova" userId="c778e498-cb36-475a-b96c-6ba69ac00b7a" providerId="ADAL" clId="{C30BFBF9-0C7B-4093-83CF-1E450F48098A}" dt="2024-09-16T10:28:50.454" v="525" actId="1036"/>
          <ac:spMkLst>
            <pc:docMk/>
            <pc:sldMk cId="1727869833" sldId="2187"/>
            <ac:spMk id="30" creationId="{1EF8A265-7911-B274-2E61-42A4C8C332CC}"/>
          </ac:spMkLst>
        </pc:spChg>
        <pc:spChg chg="del">
          <ac:chgData name="Aruzhan Bakhazatkhanova" userId="c778e498-cb36-475a-b96c-6ba69ac00b7a" providerId="ADAL" clId="{C30BFBF9-0C7B-4093-83CF-1E450F48098A}" dt="2024-09-16T10:28:30.347" v="511" actId="478"/>
          <ac:spMkLst>
            <pc:docMk/>
            <pc:sldMk cId="1727869833" sldId="2187"/>
            <ac:spMk id="31" creationId="{1B43C88C-97F7-E43F-2336-6CFB022A3A87}"/>
          </ac:spMkLst>
        </pc:spChg>
        <pc:graphicFrameChg chg="mod">
          <ac:chgData name="Aruzhan Bakhazatkhanova" userId="c778e498-cb36-475a-b96c-6ba69ac00b7a" providerId="ADAL" clId="{C30BFBF9-0C7B-4093-83CF-1E450F48098A}" dt="2024-09-16T10:23:58.695" v="452" actId="20577"/>
          <ac:graphicFrameMkLst>
            <pc:docMk/>
            <pc:sldMk cId="1727869833" sldId="2187"/>
            <ac:graphicFrameMk id="13" creationId="{D74FCFA6-CF5E-699E-F310-9A0E9ED74270}"/>
          </ac:graphicFrameMkLst>
        </pc:graphicFrameChg>
      </pc:sldChg>
      <pc:sldChg chg="del">
        <pc:chgData name="Aruzhan Bakhazatkhanova" userId="c778e498-cb36-475a-b96c-6ba69ac00b7a" providerId="ADAL" clId="{C30BFBF9-0C7B-4093-83CF-1E450F48098A}" dt="2024-09-16T10:18:50.280" v="396" actId="47"/>
        <pc:sldMkLst>
          <pc:docMk/>
          <pc:sldMk cId="3240899165" sldId="2212"/>
        </pc:sldMkLst>
      </pc:sldChg>
      <pc:sldChg chg="modSp mod">
        <pc:chgData name="Aruzhan Bakhazatkhanova" userId="c778e498-cb36-475a-b96c-6ba69ac00b7a" providerId="ADAL" clId="{C30BFBF9-0C7B-4093-83CF-1E450F48098A}" dt="2024-09-16T09:58:06.030" v="350" actId="20577"/>
        <pc:sldMkLst>
          <pc:docMk/>
          <pc:sldMk cId="2566058658" sldId="2262"/>
        </pc:sldMkLst>
        <pc:spChg chg="mod">
          <ac:chgData name="Aruzhan Bakhazatkhanova" userId="c778e498-cb36-475a-b96c-6ba69ac00b7a" providerId="ADAL" clId="{C30BFBF9-0C7B-4093-83CF-1E450F48098A}" dt="2024-09-16T09:08:18.304" v="202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Aruzhan Bakhazatkhanova" userId="c778e498-cb36-475a-b96c-6ba69ac00b7a" providerId="ADAL" clId="{C30BFBF9-0C7B-4093-83CF-1E450F48098A}" dt="2024-09-16T09:08:31.052" v="221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Aruzhan Bakhazatkhanova" userId="c778e498-cb36-475a-b96c-6ba69ac00b7a" providerId="ADAL" clId="{C30BFBF9-0C7B-4093-83CF-1E450F48098A}" dt="2024-09-16T09:58:06.030" v="350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Aruzhan Bakhazatkhanova" userId="c778e498-cb36-475a-b96c-6ba69ac00b7a" providerId="ADAL" clId="{C30BFBF9-0C7B-4093-83CF-1E450F48098A}" dt="2024-09-16T09:07:03.548" v="182" actId="20577"/>
          <ac:spMkLst>
            <pc:docMk/>
            <pc:sldMk cId="2566058658" sldId="2262"/>
            <ac:spMk id="27" creationId="{6B3D17CA-F792-DC19-AF9F-1B3065878F5C}"/>
          </ac:spMkLst>
        </pc:spChg>
        <pc:spChg chg="mod">
          <ac:chgData name="Aruzhan Bakhazatkhanova" userId="c778e498-cb36-475a-b96c-6ba69ac00b7a" providerId="ADAL" clId="{C30BFBF9-0C7B-4093-83CF-1E450F48098A}" dt="2024-09-16T09:09:07.660" v="227" actId="20577"/>
          <ac:spMkLst>
            <pc:docMk/>
            <pc:sldMk cId="2566058658" sldId="2262"/>
            <ac:spMk id="43" creationId="{76E9DA9A-37A9-3B40-F43F-1AE01A891458}"/>
          </ac:spMkLst>
        </pc:spChg>
        <pc:spChg chg="mod">
          <ac:chgData name="Aruzhan Bakhazatkhanova" userId="c778e498-cb36-475a-b96c-6ba69ac00b7a" providerId="ADAL" clId="{C30BFBF9-0C7B-4093-83CF-1E450F48098A}" dt="2024-09-16T09:07:08.802" v="184" actId="20577"/>
          <ac:spMkLst>
            <pc:docMk/>
            <pc:sldMk cId="2566058658" sldId="2262"/>
            <ac:spMk id="69" creationId="{B877ECC2-2520-FEDB-518D-37474CC4E7F2}"/>
          </ac:spMkLst>
        </pc:spChg>
      </pc:sldChg>
      <pc:sldChg chg="delSp modSp del mod">
        <pc:chgData name="Aruzhan Bakhazatkhanova" userId="c778e498-cb36-475a-b96c-6ba69ac00b7a" providerId="ADAL" clId="{C30BFBF9-0C7B-4093-83CF-1E450F48098A}" dt="2024-09-16T11:21:39.353" v="834" actId="47"/>
        <pc:sldMkLst>
          <pc:docMk/>
          <pc:sldMk cId="781584985" sldId="2266"/>
        </pc:sldMkLst>
        <pc:spChg chg="mod">
          <ac:chgData name="Aruzhan Bakhazatkhanova" userId="c778e498-cb36-475a-b96c-6ba69ac00b7a" providerId="ADAL" clId="{C30BFBF9-0C7B-4093-83CF-1E450F48098A}" dt="2024-09-16T11:08:38.558" v="681" actId="20577"/>
          <ac:spMkLst>
            <pc:docMk/>
            <pc:sldMk cId="781584985" sldId="2266"/>
            <ac:spMk id="2" creationId="{BD2CB8FC-6BA7-8072-C621-DF5C7DA19DDD}"/>
          </ac:spMkLst>
        </pc:spChg>
        <pc:spChg chg="del">
          <ac:chgData name="Aruzhan Bakhazatkhanova" userId="c778e498-cb36-475a-b96c-6ba69ac00b7a" providerId="ADAL" clId="{C30BFBF9-0C7B-4093-83CF-1E450F48098A}" dt="2024-09-16T11:05:52.354" v="647" actId="478"/>
          <ac:spMkLst>
            <pc:docMk/>
            <pc:sldMk cId="781584985" sldId="2266"/>
            <ac:spMk id="5" creationId="{999BDFEB-A206-85C4-0B59-16FA7C6E0FFE}"/>
          </ac:spMkLst>
        </pc:spChg>
        <pc:spChg chg="mod">
          <ac:chgData name="Aruzhan Bakhazatkhanova" userId="c778e498-cb36-475a-b96c-6ba69ac00b7a" providerId="ADAL" clId="{C30BFBF9-0C7B-4093-83CF-1E450F48098A}" dt="2024-09-16T08:59:52.481" v="36" actId="20577"/>
          <ac:spMkLst>
            <pc:docMk/>
            <pc:sldMk cId="781584985" sldId="2266"/>
            <ac:spMk id="7" creationId="{3D323966-1370-FDC3-37A2-99C21E85F713}"/>
          </ac:spMkLst>
        </pc:spChg>
        <pc:spChg chg="del">
          <ac:chgData name="Aruzhan Bakhazatkhanova" userId="c778e498-cb36-475a-b96c-6ba69ac00b7a" providerId="ADAL" clId="{C30BFBF9-0C7B-4093-83CF-1E450F48098A}" dt="2024-09-16T11:05:47.852" v="646" actId="478"/>
          <ac:spMkLst>
            <pc:docMk/>
            <pc:sldMk cId="781584985" sldId="2266"/>
            <ac:spMk id="8" creationId="{21532806-4319-7634-0875-E11A9151F768}"/>
          </ac:spMkLst>
        </pc:spChg>
        <pc:spChg chg="del mod">
          <ac:chgData name="Aruzhan Bakhazatkhanova" userId="c778e498-cb36-475a-b96c-6ba69ac00b7a" providerId="ADAL" clId="{C30BFBF9-0C7B-4093-83CF-1E450F48098A}" dt="2024-09-16T11:05:45.943" v="645" actId="478"/>
          <ac:spMkLst>
            <pc:docMk/>
            <pc:sldMk cId="781584985" sldId="2266"/>
            <ac:spMk id="10" creationId="{52785138-A214-64F8-152E-ABD46BCBF8B1}"/>
          </ac:spMkLst>
        </pc:spChg>
        <pc:spChg chg="mod">
          <ac:chgData name="Aruzhan Bakhazatkhanova" userId="c778e498-cb36-475a-b96c-6ba69ac00b7a" providerId="ADAL" clId="{C30BFBF9-0C7B-4093-83CF-1E450F48098A}" dt="2024-09-16T09:00:24.905" v="49" actId="20577"/>
          <ac:spMkLst>
            <pc:docMk/>
            <pc:sldMk cId="781584985" sldId="2266"/>
            <ac:spMk id="11" creationId="{B6C57508-C52E-3266-815E-55AE51AD1546}"/>
          </ac:spMkLst>
        </pc:spChg>
        <pc:spChg chg="mod">
          <ac:chgData name="Aruzhan Bakhazatkhanova" userId="c778e498-cb36-475a-b96c-6ba69ac00b7a" providerId="ADAL" clId="{C30BFBF9-0C7B-4093-83CF-1E450F48098A}" dt="2024-09-16T09:01:36.134" v="90"/>
          <ac:spMkLst>
            <pc:docMk/>
            <pc:sldMk cId="781584985" sldId="2266"/>
            <ac:spMk id="13" creationId="{AC84348C-3720-FEF6-79E9-BB1361A905E8}"/>
          </ac:spMkLst>
        </pc:spChg>
        <pc:spChg chg="mod">
          <ac:chgData name="Aruzhan Bakhazatkhanova" userId="c778e498-cb36-475a-b96c-6ba69ac00b7a" providerId="ADAL" clId="{C30BFBF9-0C7B-4093-83CF-1E450F48098A}" dt="2024-09-16T08:59:05.894" v="19" actId="20577"/>
          <ac:spMkLst>
            <pc:docMk/>
            <pc:sldMk cId="781584985" sldId="2266"/>
            <ac:spMk id="16" creationId="{E1F1BB03-B6CE-0826-CB63-3466F6634D68}"/>
          </ac:spMkLst>
        </pc:spChg>
        <pc:spChg chg="mod">
          <ac:chgData name="Aruzhan Bakhazatkhanova" userId="c778e498-cb36-475a-b96c-6ba69ac00b7a" providerId="ADAL" clId="{C30BFBF9-0C7B-4093-83CF-1E450F48098A}" dt="2024-09-16T09:01:10.198" v="84" actId="20577"/>
          <ac:spMkLst>
            <pc:docMk/>
            <pc:sldMk cId="781584985" sldId="2266"/>
            <ac:spMk id="18" creationId="{662206EC-626D-5433-AAE8-837DEE0D910E}"/>
          </ac:spMkLst>
        </pc:spChg>
        <pc:spChg chg="mod">
          <ac:chgData name="Aruzhan Bakhazatkhanova" userId="c778e498-cb36-475a-b96c-6ba69ac00b7a" providerId="ADAL" clId="{C30BFBF9-0C7B-4093-83CF-1E450F48098A}" dt="2024-09-16T08:59:39.804" v="30" actId="20577"/>
          <ac:spMkLst>
            <pc:docMk/>
            <pc:sldMk cId="781584985" sldId="2266"/>
            <ac:spMk id="21" creationId="{6596C313-F637-3C24-18F6-D87DC8097557}"/>
          </ac:spMkLst>
        </pc:spChg>
        <pc:spChg chg="mod">
          <ac:chgData name="Aruzhan Bakhazatkhanova" userId="c778e498-cb36-475a-b96c-6ba69ac00b7a" providerId="ADAL" clId="{C30BFBF9-0C7B-4093-83CF-1E450F48098A}" dt="2024-09-16T08:59:33.486" v="25" actId="20577"/>
          <ac:spMkLst>
            <pc:docMk/>
            <pc:sldMk cId="781584985" sldId="2266"/>
            <ac:spMk id="23" creationId="{33C9F3FE-DF0E-FC64-1B9F-C57CA83CA4F1}"/>
          </ac:spMkLst>
        </pc:spChg>
        <pc:spChg chg="mod">
          <ac:chgData name="Aruzhan Bakhazatkhanova" userId="c778e498-cb36-475a-b96c-6ba69ac00b7a" providerId="ADAL" clId="{C30BFBF9-0C7B-4093-83CF-1E450F48098A}" dt="2024-09-16T11:05:53.968" v="648" actId="6549"/>
          <ac:spMkLst>
            <pc:docMk/>
            <pc:sldMk cId="781584985" sldId="2266"/>
            <ac:spMk id="36" creationId="{4632B407-B4E1-C949-F143-CBA4D040767D}"/>
          </ac:spMkLst>
        </pc:spChg>
        <pc:grpChg chg="del">
          <ac:chgData name="Aruzhan Bakhazatkhanova" userId="c778e498-cb36-475a-b96c-6ba69ac00b7a" providerId="ADAL" clId="{C30BFBF9-0C7B-4093-83CF-1E450F48098A}" dt="2024-09-16T11:05:55.610" v="649" actId="478"/>
          <ac:grpSpMkLst>
            <pc:docMk/>
            <pc:sldMk cId="781584985" sldId="2266"/>
            <ac:grpSpMk id="39" creationId="{40984467-3B6D-8CA3-A615-3409F3E582B8}"/>
          </ac:grpSpMkLst>
        </pc:grpChg>
      </pc:sldChg>
      <pc:sldChg chg="modSp mod">
        <pc:chgData name="Aruzhan Bakhazatkhanova" userId="c778e498-cb36-475a-b96c-6ba69ac00b7a" providerId="ADAL" clId="{C30BFBF9-0C7B-4093-83CF-1E450F48098A}" dt="2024-09-17T04:28:03.580" v="879" actId="13926"/>
        <pc:sldMkLst>
          <pc:docMk/>
          <pc:sldMk cId="2234924895" sldId="2267"/>
        </pc:sldMkLst>
        <pc:spChg chg="mod">
          <ac:chgData name="Aruzhan Bakhazatkhanova" userId="c778e498-cb36-475a-b96c-6ba69ac00b7a" providerId="ADAL" clId="{C30BFBF9-0C7B-4093-83CF-1E450F48098A}" dt="2024-09-16T11:29:17.320" v="865" actId="20577"/>
          <ac:spMkLst>
            <pc:docMk/>
            <pc:sldMk cId="2234924895" sldId="2267"/>
            <ac:spMk id="13" creationId="{4B231C19-6581-F296-4C38-7C9083947714}"/>
          </ac:spMkLst>
        </pc:spChg>
        <pc:spChg chg="mod">
          <ac:chgData name="Aruzhan Bakhazatkhanova" userId="c778e498-cb36-475a-b96c-6ba69ac00b7a" providerId="ADAL" clId="{C30BFBF9-0C7B-4093-83CF-1E450F48098A}" dt="2024-09-17T04:28:03.580" v="879" actId="13926"/>
          <ac:spMkLst>
            <pc:docMk/>
            <pc:sldMk cId="2234924895" sldId="2267"/>
            <ac:spMk id="68" creationId="{2ECA0113-5FE2-F5DA-CE28-D2A789698078}"/>
          </ac:spMkLst>
        </pc:spChg>
      </pc:sldChg>
      <pc:sldChg chg="modSp mod">
        <pc:chgData name="Aruzhan Bakhazatkhanova" userId="c778e498-cb36-475a-b96c-6ba69ac00b7a" providerId="ADAL" clId="{C30BFBF9-0C7B-4093-83CF-1E450F48098A}" dt="2024-09-16T09:57:05.554" v="348" actId="27918"/>
        <pc:sldMkLst>
          <pc:docMk/>
          <pc:sldMk cId="1261594426" sldId="2272"/>
        </pc:sldMkLst>
        <pc:spChg chg="mod">
          <ac:chgData name="Aruzhan Bakhazatkhanova" userId="c778e498-cb36-475a-b96c-6ba69ac00b7a" providerId="ADAL" clId="{C30BFBF9-0C7B-4093-83CF-1E450F48098A}" dt="2024-09-16T09:02:02.022" v="94" actId="20577"/>
          <ac:spMkLst>
            <pc:docMk/>
            <pc:sldMk cId="1261594426" sldId="2272"/>
            <ac:spMk id="4" creationId="{D9A7DC92-E6E0-F85D-D643-D022689C0378}"/>
          </ac:spMkLst>
        </pc:spChg>
        <pc:spChg chg="mod">
          <ac:chgData name="Aruzhan Bakhazatkhanova" userId="c778e498-cb36-475a-b96c-6ba69ac00b7a" providerId="ADAL" clId="{C30BFBF9-0C7B-4093-83CF-1E450F48098A}" dt="2024-09-16T09:03:00.655" v="116" actId="20577"/>
          <ac:spMkLst>
            <pc:docMk/>
            <pc:sldMk cId="1261594426" sldId="2272"/>
            <ac:spMk id="8" creationId="{85697E62-4051-88FC-C94D-84493D08BE8E}"/>
          </ac:spMkLst>
        </pc:spChg>
        <pc:spChg chg="mod">
          <ac:chgData name="Aruzhan Bakhazatkhanova" userId="c778e498-cb36-475a-b96c-6ba69ac00b7a" providerId="ADAL" clId="{C30BFBF9-0C7B-4093-83CF-1E450F48098A}" dt="2024-09-16T09:02:09.822" v="98" actId="20577"/>
          <ac:spMkLst>
            <pc:docMk/>
            <pc:sldMk cId="1261594426" sldId="2272"/>
            <ac:spMk id="41" creationId="{E9F524AB-C272-6CB6-1927-D9F53E6AC55F}"/>
          </ac:spMkLst>
        </pc:spChg>
        <pc:spChg chg="mod">
          <ac:chgData name="Aruzhan Bakhazatkhanova" userId="c778e498-cb36-475a-b96c-6ba69ac00b7a" providerId="ADAL" clId="{C30BFBF9-0C7B-4093-83CF-1E450F48098A}" dt="2024-09-16T09:03:33.481" v="121" actId="20577"/>
          <ac:spMkLst>
            <pc:docMk/>
            <pc:sldMk cId="1261594426" sldId="2272"/>
            <ac:spMk id="81" creationId="{96A0F0B5-8891-494B-99BB-A9C69D2898B3}"/>
          </ac:spMkLst>
        </pc:spChg>
        <pc:spChg chg="mod">
          <ac:chgData name="Aruzhan Bakhazatkhanova" userId="c778e498-cb36-475a-b96c-6ba69ac00b7a" providerId="ADAL" clId="{C30BFBF9-0C7B-4093-83CF-1E450F48098A}" dt="2024-09-16T09:03:46.109" v="125" actId="20577"/>
          <ac:spMkLst>
            <pc:docMk/>
            <pc:sldMk cId="1261594426" sldId="2272"/>
            <ac:spMk id="96" creationId="{E1D943F2-AA58-9656-7ACC-4D3D69D55768}"/>
          </ac:spMkLst>
        </pc:spChg>
        <pc:spChg chg="mod">
          <ac:chgData name="Aruzhan Bakhazatkhanova" userId="c778e498-cb36-475a-b96c-6ba69ac00b7a" providerId="ADAL" clId="{C30BFBF9-0C7B-4093-83CF-1E450F48098A}" dt="2024-09-16T09:03:51.985" v="129" actId="20577"/>
          <ac:spMkLst>
            <pc:docMk/>
            <pc:sldMk cId="1261594426" sldId="2272"/>
            <ac:spMk id="97" creationId="{34F01091-74D6-DA97-4B3E-1BCCD92A29A3}"/>
          </ac:spMkLst>
        </pc:spChg>
        <pc:spChg chg="mod">
          <ac:chgData name="Aruzhan Bakhazatkhanova" userId="c778e498-cb36-475a-b96c-6ba69ac00b7a" providerId="ADAL" clId="{C30BFBF9-0C7B-4093-83CF-1E450F48098A}" dt="2024-09-16T09:03:59.068" v="134" actId="20577"/>
          <ac:spMkLst>
            <pc:docMk/>
            <pc:sldMk cId="1261594426" sldId="2272"/>
            <ac:spMk id="98" creationId="{5FAA098D-10D1-197C-1503-09758A5592A2}"/>
          </ac:spMkLst>
        </pc:spChg>
        <pc:spChg chg="mod">
          <ac:chgData name="Aruzhan Bakhazatkhanova" userId="c778e498-cb36-475a-b96c-6ba69ac00b7a" providerId="ADAL" clId="{C30BFBF9-0C7B-4093-83CF-1E450F48098A}" dt="2024-09-16T09:04:04.865" v="138" actId="20577"/>
          <ac:spMkLst>
            <pc:docMk/>
            <pc:sldMk cId="1261594426" sldId="2272"/>
            <ac:spMk id="99" creationId="{74ECEA3C-F3D8-995A-B32A-6B07AF3736FC}"/>
          </ac:spMkLst>
        </pc:spChg>
        <pc:spChg chg="mod">
          <ac:chgData name="Aruzhan Bakhazatkhanova" userId="c778e498-cb36-475a-b96c-6ba69ac00b7a" providerId="ADAL" clId="{C30BFBF9-0C7B-4093-83CF-1E450F48098A}" dt="2024-09-16T09:04:14.443" v="144" actId="20577"/>
          <ac:spMkLst>
            <pc:docMk/>
            <pc:sldMk cId="1261594426" sldId="2272"/>
            <ac:spMk id="100" creationId="{0D36ECB3-7BF8-18F4-125A-D414279DDCBF}"/>
          </ac:spMkLst>
        </pc:spChg>
        <pc:spChg chg="mod">
          <ac:chgData name="Aruzhan Bakhazatkhanova" userId="c778e498-cb36-475a-b96c-6ba69ac00b7a" providerId="ADAL" clId="{C30BFBF9-0C7B-4093-83CF-1E450F48098A}" dt="2024-09-16T09:04:19.563" v="148" actId="20577"/>
          <ac:spMkLst>
            <pc:docMk/>
            <pc:sldMk cId="1261594426" sldId="2272"/>
            <ac:spMk id="101" creationId="{434A1D0E-2100-DA46-0DBF-E6D456C93F0B}"/>
          </ac:spMkLst>
        </pc:spChg>
        <pc:spChg chg="mod">
          <ac:chgData name="Aruzhan Bakhazatkhanova" userId="c778e498-cb36-475a-b96c-6ba69ac00b7a" providerId="ADAL" clId="{C30BFBF9-0C7B-4093-83CF-1E450F48098A}" dt="2024-09-16T09:04:24.353" v="150" actId="20577"/>
          <ac:spMkLst>
            <pc:docMk/>
            <pc:sldMk cId="1261594426" sldId="2272"/>
            <ac:spMk id="102" creationId="{3CDEE3D8-DCF4-1E2F-B7A3-46C0A884A4FE}"/>
          </ac:spMkLst>
        </pc:spChg>
        <pc:spChg chg="mod">
          <ac:chgData name="Aruzhan Bakhazatkhanova" userId="c778e498-cb36-475a-b96c-6ba69ac00b7a" providerId="ADAL" clId="{C30BFBF9-0C7B-4093-83CF-1E450F48098A}" dt="2024-09-16T09:04:29.359" v="154" actId="20577"/>
          <ac:spMkLst>
            <pc:docMk/>
            <pc:sldMk cId="1261594426" sldId="2272"/>
            <ac:spMk id="103" creationId="{F25D5F82-B5DC-ADB4-8EAC-152FC30F6D5A}"/>
          </ac:spMkLst>
        </pc:spChg>
        <pc:spChg chg="mod">
          <ac:chgData name="Aruzhan Bakhazatkhanova" userId="c778e498-cb36-475a-b96c-6ba69ac00b7a" providerId="ADAL" clId="{C30BFBF9-0C7B-4093-83CF-1E450F48098A}" dt="2024-09-16T09:04:40.382" v="158" actId="20577"/>
          <ac:spMkLst>
            <pc:docMk/>
            <pc:sldMk cId="1261594426" sldId="2272"/>
            <ac:spMk id="104" creationId="{55B8B073-33B4-CEB5-66FB-5DD6B85A5EA4}"/>
          </ac:spMkLst>
        </pc:spChg>
        <pc:spChg chg="mod">
          <ac:chgData name="Aruzhan Bakhazatkhanova" userId="c778e498-cb36-475a-b96c-6ba69ac00b7a" providerId="ADAL" clId="{C30BFBF9-0C7B-4093-83CF-1E450F48098A}" dt="2024-09-16T09:04:47.452" v="164" actId="20577"/>
          <ac:spMkLst>
            <pc:docMk/>
            <pc:sldMk cId="1261594426" sldId="2272"/>
            <ac:spMk id="105" creationId="{DEB6EAED-AC4B-0635-0333-ED8AE33D1033}"/>
          </ac:spMkLst>
        </pc:spChg>
        <pc:spChg chg="mod">
          <ac:chgData name="Aruzhan Bakhazatkhanova" userId="c778e498-cb36-475a-b96c-6ba69ac00b7a" providerId="ADAL" clId="{C30BFBF9-0C7B-4093-83CF-1E450F48098A}" dt="2024-09-16T09:04:53.338" v="170" actId="20577"/>
          <ac:spMkLst>
            <pc:docMk/>
            <pc:sldMk cId="1261594426" sldId="2272"/>
            <ac:spMk id="107" creationId="{1EF0BC09-9D7B-3E0D-AB06-3405C510DBA1}"/>
          </ac:spMkLst>
        </pc:spChg>
      </pc:sldChg>
      <pc:sldChg chg="addSp delSp modSp add mod">
        <pc:chgData name="Aruzhan Bakhazatkhanova" userId="c778e498-cb36-475a-b96c-6ba69ac00b7a" providerId="ADAL" clId="{C30BFBF9-0C7B-4093-83CF-1E450F48098A}" dt="2024-09-16T10:18:37.171" v="395" actId="478"/>
        <pc:sldMkLst>
          <pc:docMk/>
          <pc:sldMk cId="2680771361" sldId="2274"/>
        </pc:sldMkLst>
        <pc:spChg chg="mod">
          <ac:chgData name="Aruzhan Bakhazatkhanova" userId="c778e498-cb36-475a-b96c-6ba69ac00b7a" providerId="ADAL" clId="{C30BFBF9-0C7B-4093-83CF-1E450F48098A}" dt="2024-09-16T10:17:44.278" v="387"/>
          <ac:spMkLst>
            <pc:docMk/>
            <pc:sldMk cId="2680771361" sldId="2274"/>
            <ac:spMk id="7" creationId="{9B66BC15-C7C9-BCAE-95C9-423B050F9920}"/>
          </ac:spMkLst>
        </pc:spChg>
        <pc:spChg chg="add mod ord">
          <ac:chgData name="Aruzhan Bakhazatkhanova" userId="c778e498-cb36-475a-b96c-6ba69ac00b7a" providerId="ADAL" clId="{C30BFBF9-0C7B-4093-83CF-1E450F48098A}" dt="2024-09-16T10:18:35.672" v="394" actId="166"/>
          <ac:spMkLst>
            <pc:docMk/>
            <pc:sldMk cId="2680771361" sldId="2274"/>
            <ac:spMk id="8" creationId="{5DC2ACFE-9C68-923D-4943-031B0D6CDE64}"/>
          </ac:spMkLst>
        </pc:spChg>
        <pc:spChg chg="add del">
          <ac:chgData name="Aruzhan Bakhazatkhanova" userId="c778e498-cb36-475a-b96c-6ba69ac00b7a" providerId="ADAL" clId="{C30BFBF9-0C7B-4093-83CF-1E450F48098A}" dt="2024-09-16T10:18:37.171" v="395" actId="478"/>
          <ac:spMkLst>
            <pc:docMk/>
            <pc:sldMk cId="2680771361" sldId="2274"/>
            <ac:spMk id="30" creationId="{AB769B3F-1768-C55B-7217-2665EE0D7B72}"/>
          </ac:spMkLst>
        </pc:spChg>
        <pc:spChg chg="mod">
          <ac:chgData name="Aruzhan Bakhazatkhanova" userId="c778e498-cb36-475a-b96c-6ba69ac00b7a" providerId="ADAL" clId="{C30BFBF9-0C7B-4093-83CF-1E450F48098A}" dt="2024-09-16T10:18:12.566" v="390"/>
          <ac:spMkLst>
            <pc:docMk/>
            <pc:sldMk cId="2680771361" sldId="2274"/>
            <ac:spMk id="34" creationId="{043A123B-4864-908F-A2B8-F951AAA6439E}"/>
          </ac:spMkLst>
        </pc:spChg>
        <pc:spChg chg="mod">
          <ac:chgData name="Aruzhan Bakhazatkhanova" userId="c778e498-cb36-475a-b96c-6ba69ac00b7a" providerId="ADAL" clId="{C30BFBF9-0C7B-4093-83CF-1E450F48098A}" dt="2024-09-16T10:17:58.682" v="389" actId="14100"/>
          <ac:spMkLst>
            <pc:docMk/>
            <pc:sldMk cId="2680771361" sldId="2274"/>
            <ac:spMk id="37" creationId="{22356F5B-BC1B-07FD-6EF0-F91E21834476}"/>
          </ac:spMkLst>
        </pc:spChg>
      </pc:sldChg>
      <pc:sldChg chg="modSp add mod">
        <pc:chgData name="Aruzhan Bakhazatkhanova" userId="c778e498-cb36-475a-b96c-6ba69ac00b7a" providerId="ADAL" clId="{C30BFBF9-0C7B-4093-83CF-1E450F48098A}" dt="2024-09-16T11:21:31.348" v="833" actId="20577"/>
        <pc:sldMkLst>
          <pc:docMk/>
          <pc:sldMk cId="4135786988" sldId="2275"/>
        </pc:sldMkLst>
        <pc:spChg chg="mod">
          <ac:chgData name="Aruzhan Bakhazatkhanova" userId="c778e498-cb36-475a-b96c-6ba69ac00b7a" providerId="ADAL" clId="{C30BFBF9-0C7B-4093-83CF-1E450F48098A}" dt="2024-09-16T11:09:18.173" v="684" actId="20577"/>
          <ac:spMkLst>
            <pc:docMk/>
            <pc:sldMk cId="4135786988" sldId="2275"/>
            <ac:spMk id="2" creationId="{BD2CB8FC-6BA7-8072-C621-DF5C7DA19DDD}"/>
          </ac:spMkLst>
        </pc:spChg>
        <pc:spChg chg="mod">
          <ac:chgData name="Aruzhan Bakhazatkhanova" userId="c778e498-cb36-475a-b96c-6ba69ac00b7a" providerId="ADAL" clId="{C30BFBF9-0C7B-4093-83CF-1E450F48098A}" dt="2024-09-16T11:14:06.066" v="725" actId="20577"/>
          <ac:spMkLst>
            <pc:docMk/>
            <pc:sldMk cId="4135786988" sldId="2275"/>
            <ac:spMk id="7" creationId="{3D323966-1370-FDC3-37A2-99C21E85F713}"/>
          </ac:spMkLst>
        </pc:spChg>
        <pc:spChg chg="mod">
          <ac:chgData name="Aruzhan Bakhazatkhanova" userId="c778e498-cb36-475a-b96c-6ba69ac00b7a" providerId="ADAL" clId="{C30BFBF9-0C7B-4093-83CF-1E450F48098A}" dt="2024-09-16T11:07:24.898" v="651"/>
          <ac:spMkLst>
            <pc:docMk/>
            <pc:sldMk cId="4135786988" sldId="2275"/>
            <ac:spMk id="9" creationId="{9466F0B9-3675-657B-C473-020CF1F30D81}"/>
          </ac:spMkLst>
        </pc:spChg>
        <pc:spChg chg="mod">
          <ac:chgData name="Aruzhan Bakhazatkhanova" userId="c778e498-cb36-475a-b96c-6ba69ac00b7a" providerId="ADAL" clId="{C30BFBF9-0C7B-4093-83CF-1E450F48098A}" dt="2024-09-16T11:11:08.550" v="697" actId="20577"/>
          <ac:spMkLst>
            <pc:docMk/>
            <pc:sldMk cId="4135786988" sldId="2275"/>
            <ac:spMk id="11" creationId="{B6C57508-C52E-3266-815E-55AE51AD1546}"/>
          </ac:spMkLst>
        </pc:spChg>
        <pc:spChg chg="mod">
          <ac:chgData name="Aruzhan Bakhazatkhanova" userId="c778e498-cb36-475a-b96c-6ba69ac00b7a" providerId="ADAL" clId="{C30BFBF9-0C7B-4093-83CF-1E450F48098A}" dt="2024-09-16T11:21:04.342" v="832" actId="20577"/>
          <ac:spMkLst>
            <pc:docMk/>
            <pc:sldMk cId="4135786988" sldId="2275"/>
            <ac:spMk id="13" creationId="{AC84348C-3720-FEF6-79E9-BB1361A905E8}"/>
          </ac:spMkLst>
        </pc:spChg>
        <pc:spChg chg="mod">
          <ac:chgData name="Aruzhan Bakhazatkhanova" userId="c778e498-cb36-475a-b96c-6ba69ac00b7a" providerId="ADAL" clId="{C30BFBF9-0C7B-4093-83CF-1E450F48098A}" dt="2024-09-16T11:14:39.157" v="773" actId="20577"/>
          <ac:spMkLst>
            <pc:docMk/>
            <pc:sldMk cId="4135786988" sldId="2275"/>
            <ac:spMk id="17" creationId="{7FB1B7A3-CCA5-CC7F-5962-21EEAE1DD7C2}"/>
          </ac:spMkLst>
        </pc:spChg>
        <pc:spChg chg="mod">
          <ac:chgData name="Aruzhan Bakhazatkhanova" userId="c778e498-cb36-475a-b96c-6ba69ac00b7a" providerId="ADAL" clId="{C30BFBF9-0C7B-4093-83CF-1E450F48098A}" dt="2024-09-16T11:20:43.315" v="830" actId="20577"/>
          <ac:spMkLst>
            <pc:docMk/>
            <pc:sldMk cId="4135786988" sldId="2275"/>
            <ac:spMk id="18" creationId="{662206EC-626D-5433-AAE8-837DEE0D910E}"/>
          </ac:spMkLst>
        </pc:spChg>
        <pc:spChg chg="mod">
          <ac:chgData name="Aruzhan Bakhazatkhanova" userId="c778e498-cb36-475a-b96c-6ba69ac00b7a" providerId="ADAL" clId="{C30BFBF9-0C7B-4093-83CF-1E450F48098A}" dt="2024-09-16T11:21:31.348" v="833" actId="20577"/>
          <ac:spMkLst>
            <pc:docMk/>
            <pc:sldMk cId="4135786988" sldId="2275"/>
            <ac:spMk id="19" creationId="{D8DAC98A-FF6B-71D8-C8C9-A82EE6DA8734}"/>
          </ac:spMkLst>
        </pc:spChg>
        <pc:spChg chg="mod">
          <ac:chgData name="Aruzhan Bakhazatkhanova" userId="c778e498-cb36-475a-b96c-6ba69ac00b7a" providerId="ADAL" clId="{C30BFBF9-0C7B-4093-83CF-1E450F48098A}" dt="2024-09-16T11:14:32.797" v="763" actId="20577"/>
          <ac:spMkLst>
            <pc:docMk/>
            <pc:sldMk cId="4135786988" sldId="2275"/>
            <ac:spMk id="22" creationId="{3BBE6039-D1DC-441E-E6E9-8536AE76BA29}"/>
          </ac:spMkLst>
        </pc:spChg>
      </pc:sldChg>
    </pc:docChg>
  </pc:docChgLst>
  <pc:docChgLst>
    <pc:chgData name="Aiym Zhakhina" userId="dd9b80cd-27cd-4a57-a758-ff3f453d87f9" providerId="ADAL" clId="{81810199-E13E-4A0B-A396-7FD1DD1264E4}"/>
    <pc:docChg chg="undo redo custSel modSld">
      <pc:chgData name="Aiym Zhakhina" userId="dd9b80cd-27cd-4a57-a758-ff3f453d87f9" providerId="ADAL" clId="{81810199-E13E-4A0B-A396-7FD1DD1264E4}" dt="2024-09-18T06:31:59.869" v="790" actId="1036"/>
      <pc:docMkLst>
        <pc:docMk/>
      </pc:docMkLst>
      <pc:sldChg chg="modSp mod">
        <pc:chgData name="Aiym Zhakhina" userId="dd9b80cd-27cd-4a57-a758-ff3f453d87f9" providerId="ADAL" clId="{81810199-E13E-4A0B-A396-7FD1DD1264E4}" dt="2024-09-17T04:53:27.672" v="199" actId="1036"/>
        <pc:sldMkLst>
          <pc:docMk/>
          <pc:sldMk cId="4078718328" sldId="2184"/>
        </pc:sldMkLst>
        <pc:spChg chg="mod">
          <ac:chgData name="Aiym Zhakhina" userId="dd9b80cd-27cd-4a57-a758-ff3f453d87f9" providerId="ADAL" clId="{81810199-E13E-4A0B-A396-7FD1DD1264E4}" dt="2024-09-17T04:53:27.672" v="199" actId="1036"/>
          <ac:spMkLst>
            <pc:docMk/>
            <pc:sldMk cId="4078718328" sldId="2184"/>
            <ac:spMk id="20" creationId="{29DC921E-7651-85A7-ACCE-1013554AA275}"/>
          </ac:spMkLst>
        </pc:spChg>
      </pc:sldChg>
      <pc:sldChg chg="delSp modSp mod">
        <pc:chgData name="Aiym Zhakhina" userId="dd9b80cd-27cd-4a57-a758-ff3f453d87f9" providerId="ADAL" clId="{81810199-E13E-4A0B-A396-7FD1DD1264E4}" dt="2024-09-17T05:01:25.049" v="317" actId="20577"/>
        <pc:sldMkLst>
          <pc:docMk/>
          <pc:sldMk cId="2298565077" sldId="2186"/>
        </pc:sldMkLst>
        <pc:spChg chg="mod">
          <ac:chgData name="Aiym Zhakhina" userId="dd9b80cd-27cd-4a57-a758-ff3f453d87f9" providerId="ADAL" clId="{81810199-E13E-4A0B-A396-7FD1DD1264E4}" dt="2024-09-17T05:01:25.049" v="317" actId="20577"/>
          <ac:spMkLst>
            <pc:docMk/>
            <pc:sldMk cId="2298565077" sldId="2186"/>
            <ac:spMk id="8" creationId="{85697E62-4051-88FC-C94D-84493D08BE8E}"/>
          </ac:spMkLst>
        </pc:spChg>
        <pc:spChg chg="del mod">
          <ac:chgData name="Aiym Zhakhina" userId="dd9b80cd-27cd-4a57-a758-ff3f453d87f9" providerId="ADAL" clId="{81810199-E13E-4A0B-A396-7FD1DD1264E4}" dt="2024-09-17T04:57:22.671" v="214" actId="478"/>
          <ac:spMkLst>
            <pc:docMk/>
            <pc:sldMk cId="2298565077" sldId="2186"/>
            <ac:spMk id="39" creationId="{75A196D6-D217-59DB-A0D8-1345D0D0BD30}"/>
          </ac:spMkLst>
        </pc:spChg>
      </pc:sldChg>
      <pc:sldChg chg="mod">
        <pc:chgData name="Aiym Zhakhina" userId="dd9b80cd-27cd-4a57-a758-ff3f453d87f9" providerId="ADAL" clId="{81810199-E13E-4A0B-A396-7FD1DD1264E4}" dt="2024-09-17T04:51:59.905" v="190" actId="27918"/>
        <pc:sldMkLst>
          <pc:docMk/>
          <pc:sldMk cId="2566058658" sldId="2262"/>
        </pc:sldMkLst>
      </pc:sldChg>
      <pc:sldChg chg="modSp mod">
        <pc:chgData name="Aiym Zhakhina" userId="dd9b80cd-27cd-4a57-a758-ff3f453d87f9" providerId="ADAL" clId="{81810199-E13E-4A0B-A396-7FD1DD1264E4}" dt="2024-09-17T04:45:55.158" v="170" actId="20577"/>
        <pc:sldMkLst>
          <pc:docMk/>
          <pc:sldMk cId="2234924895" sldId="2267"/>
        </pc:sldMkLst>
        <pc:spChg chg="mod">
          <ac:chgData name="Aiym Zhakhina" userId="dd9b80cd-27cd-4a57-a758-ff3f453d87f9" providerId="ADAL" clId="{81810199-E13E-4A0B-A396-7FD1DD1264E4}" dt="2024-09-17T04:45:55.158" v="170" actId="20577"/>
          <ac:spMkLst>
            <pc:docMk/>
            <pc:sldMk cId="2234924895" sldId="2267"/>
            <ac:spMk id="68" creationId="{2ECA0113-5FE2-F5DA-CE28-D2A789698078}"/>
          </ac:spMkLst>
        </pc:spChg>
      </pc:sldChg>
      <pc:sldChg chg="modSp mod">
        <pc:chgData name="Aiym Zhakhina" userId="dd9b80cd-27cd-4a57-a758-ff3f453d87f9" providerId="ADAL" clId="{81810199-E13E-4A0B-A396-7FD1DD1264E4}" dt="2024-09-18T06:19:37.689" v="531" actId="20577"/>
        <pc:sldMkLst>
          <pc:docMk/>
          <pc:sldMk cId="1261594426" sldId="2272"/>
        </pc:sldMkLst>
        <pc:spChg chg="mod">
          <ac:chgData name="Aiym Zhakhina" userId="dd9b80cd-27cd-4a57-a758-ff3f453d87f9" providerId="ADAL" clId="{81810199-E13E-4A0B-A396-7FD1DD1264E4}" dt="2024-09-17T04:51:05.580" v="188" actId="1035"/>
          <ac:spMkLst>
            <pc:docMk/>
            <pc:sldMk cId="1261594426" sldId="2272"/>
            <ac:spMk id="7" creationId="{9B66BC15-C7C9-BCAE-95C9-423B050F9920}"/>
          </ac:spMkLst>
        </pc:spChg>
        <pc:spChg chg="mod">
          <ac:chgData name="Aiym Zhakhina" userId="dd9b80cd-27cd-4a57-a758-ff3f453d87f9" providerId="ADAL" clId="{81810199-E13E-4A0B-A396-7FD1DD1264E4}" dt="2024-09-18T06:19:37.689" v="531" actId="20577"/>
          <ac:spMkLst>
            <pc:docMk/>
            <pc:sldMk cId="1261594426" sldId="2272"/>
            <ac:spMk id="81" creationId="{96A0F0B5-8891-494B-99BB-A9C69D2898B3}"/>
          </ac:spMkLst>
        </pc:spChg>
        <pc:graphicFrameChg chg="mod">
          <ac:chgData name="Aiym Zhakhina" userId="dd9b80cd-27cd-4a57-a758-ff3f453d87f9" providerId="ADAL" clId="{81810199-E13E-4A0B-A396-7FD1DD1264E4}" dt="2024-09-17T04:49:37.628" v="178" actId="20577"/>
          <ac:graphicFrameMkLst>
            <pc:docMk/>
            <pc:sldMk cId="1261594426" sldId="2272"/>
            <ac:graphicFrameMk id="15" creationId="{FF87ACB7-435A-596F-99E5-E164909633CE}"/>
          </ac:graphicFrameMkLst>
        </pc:graphicFrameChg>
      </pc:sldChg>
      <pc:sldChg chg="modSp mod">
        <pc:chgData name="Aiym Zhakhina" userId="dd9b80cd-27cd-4a57-a758-ff3f453d87f9" providerId="ADAL" clId="{81810199-E13E-4A0B-A396-7FD1DD1264E4}" dt="2024-09-17T05:02:25.851" v="320" actId="13926"/>
        <pc:sldMkLst>
          <pc:docMk/>
          <pc:sldMk cId="3326975222" sldId="2273"/>
        </pc:sldMkLst>
        <pc:spChg chg="mod">
          <ac:chgData name="Aiym Zhakhina" userId="dd9b80cd-27cd-4a57-a758-ff3f453d87f9" providerId="ADAL" clId="{81810199-E13E-4A0B-A396-7FD1DD1264E4}" dt="2024-09-17T05:02:25.851" v="320" actId="13926"/>
          <ac:spMkLst>
            <pc:docMk/>
            <pc:sldMk cId="3326975222" sldId="2273"/>
            <ac:spMk id="37" creationId="{E26DD868-52B5-B510-37AD-15634F3D01D1}"/>
          </ac:spMkLst>
        </pc:spChg>
      </pc:sldChg>
      <pc:sldChg chg="modSp mod">
        <pc:chgData name="Aiym Zhakhina" userId="dd9b80cd-27cd-4a57-a758-ff3f453d87f9" providerId="ADAL" clId="{81810199-E13E-4A0B-A396-7FD1DD1264E4}" dt="2024-09-17T04:54:23.964" v="212" actId="12788"/>
        <pc:sldMkLst>
          <pc:docMk/>
          <pc:sldMk cId="2680771361" sldId="2274"/>
        </pc:sldMkLst>
        <pc:spChg chg="mod">
          <ac:chgData name="Aiym Zhakhina" userId="dd9b80cd-27cd-4a57-a758-ff3f453d87f9" providerId="ADAL" clId="{81810199-E13E-4A0B-A396-7FD1DD1264E4}" dt="2024-09-17T04:54:11.269" v="211" actId="1035"/>
          <ac:spMkLst>
            <pc:docMk/>
            <pc:sldMk cId="2680771361" sldId="2274"/>
            <ac:spMk id="12" creationId="{A76CF317-8F68-B2F1-3D06-2EF2070A04BC}"/>
          </ac:spMkLst>
        </pc:spChg>
        <pc:grpChg chg="mod">
          <ac:chgData name="Aiym Zhakhina" userId="dd9b80cd-27cd-4a57-a758-ff3f453d87f9" providerId="ADAL" clId="{81810199-E13E-4A0B-A396-7FD1DD1264E4}" dt="2024-09-17T04:54:23.964" v="212" actId="12788"/>
          <ac:grpSpMkLst>
            <pc:docMk/>
            <pc:sldMk cId="2680771361" sldId="2274"/>
            <ac:grpSpMk id="52" creationId="{23C41BBA-E07C-54CB-D9C4-D3922981E61A}"/>
          </ac:grpSpMkLst>
        </pc:grpChg>
        <pc:grpChg chg="mod">
          <ac:chgData name="Aiym Zhakhina" userId="dd9b80cd-27cd-4a57-a758-ff3f453d87f9" providerId="ADAL" clId="{81810199-E13E-4A0B-A396-7FD1DD1264E4}" dt="2024-09-17T04:54:23.964" v="212" actId="12788"/>
          <ac:grpSpMkLst>
            <pc:docMk/>
            <pc:sldMk cId="2680771361" sldId="2274"/>
            <ac:grpSpMk id="61" creationId="{462B716A-92F8-38FF-BBE2-3F91B64FA205}"/>
          </ac:grpSpMkLst>
        </pc:grpChg>
      </pc:sldChg>
      <pc:sldChg chg="addSp delSp modSp mod">
        <pc:chgData name="Aiym Zhakhina" userId="dd9b80cd-27cd-4a57-a758-ff3f453d87f9" providerId="ADAL" clId="{81810199-E13E-4A0B-A396-7FD1DD1264E4}" dt="2024-09-18T06:31:59.869" v="790" actId="1036"/>
        <pc:sldMkLst>
          <pc:docMk/>
          <pc:sldMk cId="4135786988" sldId="2275"/>
        </pc:sldMkLst>
        <pc:spChg chg="add mod">
          <ac:chgData name="Aiym Zhakhina" userId="dd9b80cd-27cd-4a57-a758-ff3f453d87f9" providerId="ADAL" clId="{81810199-E13E-4A0B-A396-7FD1DD1264E4}" dt="2024-09-18T06:29:25.037" v="726" actId="1036"/>
          <ac:spMkLst>
            <pc:docMk/>
            <pc:sldMk cId="4135786988" sldId="2275"/>
            <ac:spMk id="4" creationId="{235083C2-5757-7E48-3DD7-E82083F8F912}"/>
          </ac:spMkLst>
        </pc:spChg>
        <pc:spChg chg="mod">
          <ac:chgData name="Aiym Zhakhina" userId="dd9b80cd-27cd-4a57-a758-ff3f453d87f9" providerId="ADAL" clId="{81810199-E13E-4A0B-A396-7FD1DD1264E4}" dt="2024-09-18T06:29:25.037" v="726" actId="1036"/>
          <ac:spMkLst>
            <pc:docMk/>
            <pc:sldMk cId="4135786988" sldId="2275"/>
            <ac:spMk id="6" creationId="{B23BE2FE-552A-E578-0D98-091BCDECCE51}"/>
          </ac:spMkLst>
        </pc:spChg>
        <pc:spChg chg="del mod">
          <ac:chgData name="Aiym Zhakhina" userId="dd9b80cd-27cd-4a57-a758-ff3f453d87f9" providerId="ADAL" clId="{81810199-E13E-4A0B-A396-7FD1DD1264E4}" dt="2024-09-18T05:55:33.329" v="347" actId="478"/>
          <ac:spMkLst>
            <pc:docMk/>
            <pc:sldMk cId="4135786988" sldId="2275"/>
            <ac:spMk id="7" creationId="{3D323966-1370-FDC3-37A2-99C21E85F713}"/>
          </ac:spMkLst>
        </pc:spChg>
        <pc:spChg chg="mod">
          <ac:chgData name="Aiym Zhakhina" userId="dd9b80cd-27cd-4a57-a758-ff3f453d87f9" providerId="ADAL" clId="{81810199-E13E-4A0B-A396-7FD1DD1264E4}" dt="2024-09-18T05:55:20.682" v="321"/>
          <ac:spMkLst>
            <pc:docMk/>
            <pc:sldMk cId="4135786988" sldId="2275"/>
            <ac:spMk id="8" creationId="{5AFE7194-754A-139A-129B-C29D97705FDC}"/>
          </ac:spMkLst>
        </pc:spChg>
        <pc:spChg chg="mod">
          <ac:chgData name="Aiym Zhakhina" userId="dd9b80cd-27cd-4a57-a758-ff3f453d87f9" providerId="ADAL" clId="{81810199-E13E-4A0B-A396-7FD1DD1264E4}" dt="2024-09-18T06:31:24.319" v="758" actId="1038"/>
          <ac:spMkLst>
            <pc:docMk/>
            <pc:sldMk cId="4135786988" sldId="2275"/>
            <ac:spMk id="10" creationId="{6308A178-8EED-6E62-8CF2-A6BCE10E4525}"/>
          </ac:spMkLst>
        </pc:spChg>
        <pc:spChg chg="add del mod">
          <ac:chgData name="Aiym Zhakhina" userId="dd9b80cd-27cd-4a57-a758-ff3f453d87f9" providerId="ADAL" clId="{81810199-E13E-4A0B-A396-7FD1DD1264E4}" dt="2024-09-18T06:28:47.509" v="620" actId="478"/>
          <ac:spMkLst>
            <pc:docMk/>
            <pc:sldMk cId="4135786988" sldId="2275"/>
            <ac:spMk id="11" creationId="{B6C57508-C52E-3266-815E-55AE51AD1546}"/>
          </ac:spMkLst>
        </pc:spChg>
        <pc:spChg chg="add del">
          <ac:chgData name="Aiym Zhakhina" userId="dd9b80cd-27cd-4a57-a758-ff3f453d87f9" providerId="ADAL" clId="{81810199-E13E-4A0B-A396-7FD1DD1264E4}" dt="2024-09-18T06:28:47.509" v="620" actId="478"/>
          <ac:spMkLst>
            <pc:docMk/>
            <pc:sldMk cId="4135786988" sldId="2275"/>
            <ac:spMk id="13" creationId="{AC84348C-3720-FEF6-79E9-BB1361A905E8}"/>
          </ac:spMkLst>
        </pc:spChg>
        <pc:spChg chg="add del">
          <ac:chgData name="Aiym Zhakhina" userId="dd9b80cd-27cd-4a57-a758-ff3f453d87f9" providerId="ADAL" clId="{81810199-E13E-4A0B-A396-7FD1DD1264E4}" dt="2024-09-18T06:28:47.509" v="620" actId="478"/>
          <ac:spMkLst>
            <pc:docMk/>
            <pc:sldMk cId="4135786988" sldId="2275"/>
            <ac:spMk id="18" creationId="{662206EC-626D-5433-AAE8-837DEE0D910E}"/>
          </ac:spMkLst>
        </pc:spChg>
        <pc:spChg chg="del mod">
          <ac:chgData name="Aiym Zhakhina" userId="dd9b80cd-27cd-4a57-a758-ff3f453d87f9" providerId="ADAL" clId="{81810199-E13E-4A0B-A396-7FD1DD1264E4}" dt="2024-09-18T05:55:33.329" v="347" actId="478"/>
          <ac:spMkLst>
            <pc:docMk/>
            <pc:sldMk cId="4135786988" sldId="2275"/>
            <ac:spMk id="19" creationId="{D8DAC98A-FF6B-71D8-C8C9-A82EE6DA8734}"/>
          </ac:spMkLst>
        </pc:spChg>
        <pc:spChg chg="mod">
          <ac:chgData name="Aiym Zhakhina" userId="dd9b80cd-27cd-4a57-a758-ff3f453d87f9" providerId="ADAL" clId="{81810199-E13E-4A0B-A396-7FD1DD1264E4}" dt="2024-09-17T04:45:08.256" v="137" actId="20577"/>
          <ac:spMkLst>
            <pc:docMk/>
            <pc:sldMk cId="4135786988" sldId="2275"/>
            <ac:spMk id="22" creationId="{3BBE6039-D1DC-441E-E6E9-8536AE76BA29}"/>
          </ac:spMkLst>
        </pc:spChg>
        <pc:spChg chg="add mod">
          <ac:chgData name="Aiym Zhakhina" userId="dd9b80cd-27cd-4a57-a758-ff3f453d87f9" providerId="ADAL" clId="{81810199-E13E-4A0B-A396-7FD1DD1264E4}" dt="2024-09-18T06:31:47.521" v="779" actId="552"/>
          <ac:spMkLst>
            <pc:docMk/>
            <pc:sldMk cId="4135786988" sldId="2275"/>
            <ac:spMk id="23" creationId="{8C3CDE9E-035D-BFE2-205C-1E57970DE1EB}"/>
          </ac:spMkLst>
        </pc:spChg>
        <pc:spChg chg="add mod">
          <ac:chgData name="Aiym Zhakhina" userId="dd9b80cd-27cd-4a57-a758-ff3f453d87f9" providerId="ADAL" clId="{81810199-E13E-4A0B-A396-7FD1DD1264E4}" dt="2024-09-18T06:31:54.109" v="780" actId="554"/>
          <ac:spMkLst>
            <pc:docMk/>
            <pc:sldMk cId="4135786988" sldId="2275"/>
            <ac:spMk id="24" creationId="{FFAFFEA8-1DF7-6FF3-BBB3-5C7EA0C9F237}"/>
          </ac:spMkLst>
        </pc:spChg>
        <pc:spChg chg="mod">
          <ac:chgData name="Aiym Zhakhina" userId="dd9b80cd-27cd-4a57-a758-ff3f453d87f9" providerId="ADAL" clId="{81810199-E13E-4A0B-A396-7FD1DD1264E4}" dt="2024-09-18T06:31:30.792" v="762" actId="20577"/>
          <ac:spMkLst>
            <pc:docMk/>
            <pc:sldMk cId="4135786988" sldId="2275"/>
            <ac:spMk id="27" creationId="{52BC447A-6F39-66A3-FE03-5C4E6B746FC4}"/>
          </ac:spMkLst>
        </pc:spChg>
        <pc:spChg chg="mod">
          <ac:chgData name="Aiym Zhakhina" userId="dd9b80cd-27cd-4a57-a758-ff3f453d87f9" providerId="ADAL" clId="{81810199-E13E-4A0B-A396-7FD1DD1264E4}" dt="2024-09-18T06:28:10.597" v="532"/>
          <ac:spMkLst>
            <pc:docMk/>
            <pc:sldMk cId="4135786988" sldId="2275"/>
            <ac:spMk id="28" creationId="{80EBAB59-C220-B3D0-45BE-A587F6369F63}"/>
          </ac:spMkLst>
        </pc:spChg>
        <pc:spChg chg="add mod">
          <ac:chgData name="Aiym Zhakhina" userId="dd9b80cd-27cd-4a57-a758-ff3f453d87f9" providerId="ADAL" clId="{81810199-E13E-4A0B-A396-7FD1DD1264E4}" dt="2024-09-18T06:31:59.869" v="790" actId="1036"/>
          <ac:spMkLst>
            <pc:docMk/>
            <pc:sldMk cId="4135786988" sldId="2275"/>
            <ac:spMk id="29" creationId="{0D44198A-15FA-6196-A1B4-4A48106931E3}"/>
          </ac:spMkLst>
        </pc:spChg>
        <pc:spChg chg="add del mod">
          <ac:chgData name="Aiym Zhakhina" userId="dd9b80cd-27cd-4a57-a758-ff3f453d87f9" providerId="ADAL" clId="{81810199-E13E-4A0B-A396-7FD1DD1264E4}" dt="2024-09-18T06:31:36.036" v="766" actId="478"/>
          <ac:spMkLst>
            <pc:docMk/>
            <pc:sldMk cId="4135786988" sldId="2275"/>
            <ac:spMk id="30" creationId="{E6CD7700-D5D5-7777-0925-42B2512750DA}"/>
          </ac:spMkLst>
        </pc:spChg>
        <pc:grpChg chg="add mod">
          <ac:chgData name="Aiym Zhakhina" userId="dd9b80cd-27cd-4a57-a758-ff3f453d87f9" providerId="ADAL" clId="{81810199-E13E-4A0B-A396-7FD1DD1264E4}" dt="2024-09-18T06:29:25.037" v="726" actId="1036"/>
          <ac:grpSpMkLst>
            <pc:docMk/>
            <pc:sldMk cId="4135786988" sldId="2275"/>
            <ac:grpSpMk id="5" creationId="{6C3CFBC9-02D3-15AD-185C-028D26028444}"/>
          </ac:grpSpMkLst>
        </pc:grpChg>
        <pc:grpChg chg="add del">
          <ac:chgData name="Aiym Zhakhina" userId="dd9b80cd-27cd-4a57-a758-ff3f453d87f9" providerId="ADAL" clId="{81810199-E13E-4A0B-A396-7FD1DD1264E4}" dt="2024-09-18T06:28:47.509" v="620" actId="478"/>
          <ac:grpSpMkLst>
            <pc:docMk/>
            <pc:sldMk cId="4135786988" sldId="2275"/>
            <ac:grpSpMk id="14" creationId="{C5D266CA-0CA9-8EC8-0A43-03A0C4BA5A7F}"/>
          </ac:grpSpMkLst>
        </pc:grpChg>
        <pc:grpChg chg="del">
          <ac:chgData name="Aiym Zhakhina" userId="dd9b80cd-27cd-4a57-a758-ff3f453d87f9" providerId="ADAL" clId="{81810199-E13E-4A0B-A396-7FD1DD1264E4}" dt="2024-09-18T05:55:33.329" v="347" actId="478"/>
          <ac:grpSpMkLst>
            <pc:docMk/>
            <pc:sldMk cId="4135786988" sldId="2275"/>
            <ac:grpSpMk id="20" creationId="{B11052AB-3FE7-E830-1487-F82C0F31D098}"/>
          </ac:grpSpMkLst>
        </pc:grpChg>
        <pc:grpChg chg="add mod">
          <ac:chgData name="Aiym Zhakhina" userId="dd9b80cd-27cd-4a57-a758-ff3f453d87f9" providerId="ADAL" clId="{81810199-E13E-4A0B-A396-7FD1DD1264E4}" dt="2024-09-18T06:29:25.037" v="726" actId="1036"/>
          <ac:grpSpMkLst>
            <pc:docMk/>
            <pc:sldMk cId="4135786988" sldId="2275"/>
            <ac:grpSpMk id="26" creationId="{4177EDD4-383E-5B2E-AD23-4BB2B79954F8}"/>
          </ac:grpSpMkLst>
        </pc:grpChg>
        <pc:cxnChg chg="add mod">
          <ac:chgData name="Aiym Zhakhina" userId="dd9b80cd-27cd-4a57-a758-ff3f453d87f9" providerId="ADAL" clId="{81810199-E13E-4A0B-A396-7FD1DD1264E4}" dt="2024-09-18T06:29:25.037" v="726" actId="1036"/>
          <ac:cxnSpMkLst>
            <pc:docMk/>
            <pc:sldMk cId="4135786988" sldId="2275"/>
            <ac:cxnSpMk id="3" creationId="{D2AB8C45-009F-A7CC-576B-61C0E279C5CF}"/>
          </ac:cxnSpMkLst>
        </pc:cxnChg>
        <pc:cxnChg chg="mod">
          <ac:chgData name="Aiym Zhakhina" userId="dd9b80cd-27cd-4a57-a758-ff3f453d87f9" providerId="ADAL" clId="{81810199-E13E-4A0B-A396-7FD1DD1264E4}" dt="2024-09-18T06:29:25.037" v="726" actId="1036"/>
          <ac:cxnSpMkLst>
            <pc:docMk/>
            <pc:sldMk cId="4135786988" sldId="2275"/>
            <ac:cxnSpMk id="12" creationId="{F25F9A3C-A6AC-7B2C-A7C3-15F9DC24E247}"/>
          </ac:cxnSpMkLst>
        </pc:cxnChg>
        <pc:cxnChg chg="del">
          <ac:chgData name="Aiym Zhakhina" userId="dd9b80cd-27cd-4a57-a758-ff3f453d87f9" providerId="ADAL" clId="{81810199-E13E-4A0B-A396-7FD1DD1264E4}" dt="2024-09-18T05:55:33.329" v="347" actId="478"/>
          <ac:cxnSpMkLst>
            <pc:docMk/>
            <pc:sldMk cId="4135786988" sldId="2275"/>
            <ac:cxnSpMk id="15" creationId="{B51B049F-DB48-88C0-D085-555C1FE64DF4}"/>
          </ac:cxnSpMkLst>
        </pc:cxnChg>
        <pc:cxnChg chg="add del mod">
          <ac:chgData name="Aiym Zhakhina" userId="dd9b80cd-27cd-4a57-a758-ff3f453d87f9" providerId="ADAL" clId="{81810199-E13E-4A0B-A396-7FD1DD1264E4}" dt="2024-09-18T06:29:09.627" v="704" actId="478"/>
          <ac:cxnSpMkLst>
            <pc:docMk/>
            <pc:sldMk cId="4135786988" sldId="2275"/>
            <ac:cxnSpMk id="25" creationId="{E33E9FEF-2154-EFD8-153B-A0A9E9E636E3}"/>
          </ac:cxnSpMkLst>
        </pc:cxnChg>
      </pc:sldChg>
    </pc:docChg>
  </pc:docChgLst>
  <pc:docChgLst>
    <pc:chgData name="Altair Bekturov" userId="f1c9077e-fbd1-4d3f-8125-f3628bf5133d" providerId="ADAL" clId="{E0AA69EB-1AA2-4E5B-BAF1-41A5B5A26C22}"/>
    <pc:docChg chg="modSld">
      <pc:chgData name="Altair Bekturov" userId="f1c9077e-fbd1-4d3f-8125-f3628bf5133d" providerId="ADAL" clId="{E0AA69EB-1AA2-4E5B-BAF1-41A5B5A26C22}" dt="2024-12-10T06:17:02.606" v="1" actId="27918"/>
      <pc:docMkLst>
        <pc:docMk/>
      </pc:docMkLst>
      <pc:sldChg chg="mod">
        <pc:chgData name="Altair Bekturov" userId="f1c9077e-fbd1-4d3f-8125-f3628bf5133d" providerId="ADAL" clId="{E0AA69EB-1AA2-4E5B-BAF1-41A5B5A26C22}" dt="2024-12-10T06:17:02.606" v="1" actId="27918"/>
        <pc:sldMkLst>
          <pc:docMk/>
          <pc:sldMk cId="3793422932" sldId="2276"/>
        </pc:sldMkLst>
      </pc:sldChg>
    </pc:docChg>
  </pc:docChgLst>
  <pc:docChgLst>
    <pc:chgData name="Timur Karimsakov" userId="ea04722c-9be7-49ff-9a17-c5a9c646d8a7" providerId="ADAL" clId="{7E85B5A2-01C0-4937-8FFC-40872C8371EE}"/>
    <pc:docChg chg="undo custSel modSld">
      <pc:chgData name="Timur Karimsakov" userId="ea04722c-9be7-49ff-9a17-c5a9c646d8a7" providerId="ADAL" clId="{7E85B5A2-01C0-4937-8FFC-40872C8371EE}" dt="2025-01-05T10:19:17.477" v="1405" actId="20577"/>
      <pc:docMkLst>
        <pc:docMk/>
      </pc:docMkLst>
      <pc:sldChg chg="modSp mod">
        <pc:chgData name="Timur Karimsakov" userId="ea04722c-9be7-49ff-9a17-c5a9c646d8a7" providerId="ADAL" clId="{7E85B5A2-01C0-4937-8FFC-40872C8371EE}" dt="2025-01-05T07:13:03.010" v="5" actId="20577"/>
        <pc:sldMkLst>
          <pc:docMk/>
          <pc:sldMk cId="15871163" sldId="257"/>
        </pc:sldMkLst>
        <pc:spChg chg="mod">
          <ac:chgData name="Timur Karimsakov" userId="ea04722c-9be7-49ff-9a17-c5a9c646d8a7" providerId="ADAL" clId="{7E85B5A2-01C0-4937-8FFC-40872C8371EE}" dt="2025-01-05T07:13:03.010" v="5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delSp modSp mod">
        <pc:chgData name="Timur Karimsakov" userId="ea04722c-9be7-49ff-9a17-c5a9c646d8a7" providerId="ADAL" clId="{7E85B5A2-01C0-4937-8FFC-40872C8371EE}" dt="2025-01-05T07:45:10.222" v="741" actId="1035"/>
        <pc:sldMkLst>
          <pc:docMk/>
          <pc:sldMk cId="4078718328" sldId="2184"/>
        </pc:sldMkLst>
        <pc:spChg chg="mod">
          <ac:chgData name="Timur Karimsakov" userId="ea04722c-9be7-49ff-9a17-c5a9c646d8a7" providerId="ADAL" clId="{7E85B5A2-01C0-4937-8FFC-40872C8371EE}" dt="2025-01-05T07:45:08.084" v="738" actId="1036"/>
          <ac:spMkLst>
            <pc:docMk/>
            <pc:sldMk cId="4078718328" sldId="2184"/>
            <ac:spMk id="2" creationId="{CE6236F5-7F09-1A5B-F594-337A4613C3F0}"/>
          </ac:spMkLst>
        </pc:spChg>
        <pc:spChg chg="mod">
          <ac:chgData name="Timur Karimsakov" userId="ea04722c-9be7-49ff-9a17-c5a9c646d8a7" providerId="ADAL" clId="{7E85B5A2-01C0-4937-8FFC-40872C8371EE}" dt="2025-01-05T07:43:32.318" v="672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Timur Karimsakov" userId="ea04722c-9be7-49ff-9a17-c5a9c646d8a7" providerId="ADAL" clId="{7E85B5A2-01C0-4937-8FFC-40872C8371EE}" dt="2025-01-05T07:40:25.879" v="460" actId="20577"/>
          <ac:spMkLst>
            <pc:docMk/>
            <pc:sldMk cId="4078718328" sldId="2184"/>
            <ac:spMk id="14" creationId="{BD5CC2B5-7AC2-AC81-7D04-76E8DBC10147}"/>
          </ac:spMkLst>
        </pc:spChg>
        <pc:spChg chg="mod">
          <ac:chgData name="Timur Karimsakov" userId="ea04722c-9be7-49ff-9a17-c5a9c646d8a7" providerId="ADAL" clId="{7E85B5A2-01C0-4937-8FFC-40872C8371EE}" dt="2025-01-05T07:45:06.824" v="733" actId="1036"/>
          <ac:spMkLst>
            <pc:docMk/>
            <pc:sldMk cId="4078718328" sldId="2184"/>
            <ac:spMk id="19" creationId="{1E1E9373-97B6-3891-1208-041BD7411038}"/>
          </ac:spMkLst>
        </pc:spChg>
        <pc:spChg chg="mod">
          <ac:chgData name="Timur Karimsakov" userId="ea04722c-9be7-49ff-9a17-c5a9c646d8a7" providerId="ADAL" clId="{7E85B5A2-01C0-4937-8FFC-40872C8371EE}" dt="2025-01-05T07:45:10.222" v="741" actId="1035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Timur Karimsakov" userId="ea04722c-9be7-49ff-9a17-c5a9c646d8a7" providerId="ADAL" clId="{7E85B5A2-01C0-4937-8FFC-40872C8371EE}" dt="2025-01-05T07:45:05.097" v="727" actId="1036"/>
          <ac:spMkLst>
            <pc:docMk/>
            <pc:sldMk cId="4078718328" sldId="2184"/>
            <ac:spMk id="23" creationId="{6A40FC35-7537-C90D-C0D6-C521A603A37E}"/>
          </ac:spMkLst>
        </pc:spChg>
        <pc:spChg chg="mod">
          <ac:chgData name="Timur Karimsakov" userId="ea04722c-9be7-49ff-9a17-c5a9c646d8a7" providerId="ADAL" clId="{7E85B5A2-01C0-4937-8FFC-40872C8371EE}" dt="2025-01-05T07:45:02.915" v="720" actId="1036"/>
          <ac:spMkLst>
            <pc:docMk/>
            <pc:sldMk cId="4078718328" sldId="2184"/>
            <ac:spMk id="24" creationId="{86048335-57D5-C7F0-CF8E-62463E71FFF9}"/>
          </ac:spMkLst>
        </pc:spChg>
        <pc:spChg chg="mod">
          <ac:chgData name="Timur Karimsakov" userId="ea04722c-9be7-49ff-9a17-c5a9c646d8a7" providerId="ADAL" clId="{7E85B5A2-01C0-4937-8FFC-40872C8371EE}" dt="2025-01-05T07:45:00.818" v="714" actId="1036"/>
          <ac:spMkLst>
            <pc:docMk/>
            <pc:sldMk cId="4078718328" sldId="2184"/>
            <ac:spMk id="25" creationId="{760095B9-C0E5-3C10-2E30-18E3DF0AFAF2}"/>
          </ac:spMkLst>
        </pc:spChg>
        <pc:spChg chg="mod">
          <ac:chgData name="Timur Karimsakov" userId="ea04722c-9be7-49ff-9a17-c5a9c646d8a7" providerId="ADAL" clId="{7E85B5A2-01C0-4937-8FFC-40872C8371EE}" dt="2025-01-05T07:44:58.733" v="707" actId="1036"/>
          <ac:spMkLst>
            <pc:docMk/>
            <pc:sldMk cId="4078718328" sldId="2184"/>
            <ac:spMk id="26" creationId="{830276EE-0FFE-9C29-C177-1DB5B7C376A3}"/>
          </ac:spMkLst>
        </pc:spChg>
        <pc:spChg chg="mod">
          <ac:chgData name="Timur Karimsakov" userId="ea04722c-9be7-49ff-9a17-c5a9c646d8a7" providerId="ADAL" clId="{7E85B5A2-01C0-4937-8FFC-40872C8371EE}" dt="2025-01-05T07:44:33.262" v="691" actId="20577"/>
          <ac:spMkLst>
            <pc:docMk/>
            <pc:sldMk cId="4078718328" sldId="2184"/>
            <ac:spMk id="30" creationId="{1EF8A265-7911-B274-2E61-42A4C8C332CC}"/>
          </ac:spMkLst>
        </pc:spChg>
        <pc:spChg chg="del">
          <ac:chgData name="Timur Karimsakov" userId="ea04722c-9be7-49ff-9a17-c5a9c646d8a7" providerId="ADAL" clId="{7E85B5A2-01C0-4937-8FFC-40872C8371EE}" dt="2025-01-05T07:44:36.333" v="692" actId="478"/>
          <ac:spMkLst>
            <pc:docMk/>
            <pc:sldMk cId="4078718328" sldId="2184"/>
            <ac:spMk id="31" creationId="{1B43C88C-97F7-E43F-2336-6CFB022A3A87}"/>
          </ac:spMkLst>
        </pc:spChg>
      </pc:sldChg>
      <pc:sldChg chg="modSp mod">
        <pc:chgData name="Timur Karimsakov" userId="ea04722c-9be7-49ff-9a17-c5a9c646d8a7" providerId="ADAL" clId="{7E85B5A2-01C0-4937-8FFC-40872C8371EE}" dt="2025-01-05T10:13:06.672" v="1007" actId="27918"/>
        <pc:sldMkLst>
          <pc:docMk/>
          <pc:sldMk cId="2298565077" sldId="2186"/>
        </pc:sldMkLst>
        <pc:spChg chg="mod">
          <ac:chgData name="Timur Karimsakov" userId="ea04722c-9be7-49ff-9a17-c5a9c646d8a7" providerId="ADAL" clId="{7E85B5A2-01C0-4937-8FFC-40872C8371EE}" dt="2025-01-05T10:12:41.071" v="985" actId="20577"/>
          <ac:spMkLst>
            <pc:docMk/>
            <pc:sldMk cId="2298565077" sldId="2186"/>
            <ac:spMk id="6" creationId="{90BE8CD8-94C1-7202-0DBE-3853E3A66AD5}"/>
          </ac:spMkLst>
        </pc:spChg>
        <pc:spChg chg="mod">
          <ac:chgData name="Timur Karimsakov" userId="ea04722c-9be7-49ff-9a17-c5a9c646d8a7" providerId="ADAL" clId="{7E85B5A2-01C0-4937-8FFC-40872C8371EE}" dt="2025-01-05T10:11:36.927" v="974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Timur Karimsakov" userId="ea04722c-9be7-49ff-9a17-c5a9c646d8a7" providerId="ADAL" clId="{7E85B5A2-01C0-4937-8FFC-40872C8371EE}" dt="2025-01-05T10:12:55.829" v="1004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modSp mod">
        <pc:chgData name="Timur Karimsakov" userId="ea04722c-9be7-49ff-9a17-c5a9c646d8a7" providerId="ADAL" clId="{7E85B5A2-01C0-4937-8FFC-40872C8371EE}" dt="2025-01-05T10:10:10.586" v="948" actId="20577"/>
        <pc:sldMkLst>
          <pc:docMk/>
          <pc:sldMk cId="1727869833" sldId="2187"/>
        </pc:sldMkLst>
        <pc:spChg chg="mod">
          <ac:chgData name="Timur Karimsakov" userId="ea04722c-9be7-49ff-9a17-c5a9c646d8a7" providerId="ADAL" clId="{7E85B5A2-01C0-4937-8FFC-40872C8371EE}" dt="2025-01-05T07:48:32.132" v="888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Timur Karimsakov" userId="ea04722c-9be7-49ff-9a17-c5a9c646d8a7" providerId="ADAL" clId="{7E85B5A2-01C0-4937-8FFC-40872C8371EE}" dt="2025-01-05T07:49:04.474" v="912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Timur Karimsakov" userId="ea04722c-9be7-49ff-9a17-c5a9c646d8a7" providerId="ADAL" clId="{7E85B5A2-01C0-4937-8FFC-40872C8371EE}" dt="2025-01-05T07:48:16.829" v="884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Timur Karimsakov" userId="ea04722c-9be7-49ff-9a17-c5a9c646d8a7" providerId="ADAL" clId="{7E85B5A2-01C0-4937-8FFC-40872C8371EE}" dt="2025-01-05T07:50:52.567" v="945" actId="1035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7E85B5A2-01C0-4937-8FFC-40872C8371EE}" dt="2025-01-05T07:50:22.115" v="932" actId="20577"/>
          <ac:spMkLst>
            <pc:docMk/>
            <pc:sldMk cId="1727869833" sldId="2187"/>
            <ac:spMk id="30" creationId="{1EF8A265-7911-B274-2E61-42A4C8C332CC}"/>
          </ac:spMkLst>
        </pc:spChg>
        <pc:graphicFrameChg chg="mod">
          <ac:chgData name="Timur Karimsakov" userId="ea04722c-9be7-49ff-9a17-c5a9c646d8a7" providerId="ADAL" clId="{7E85B5A2-01C0-4937-8FFC-40872C8371EE}" dt="2025-01-05T10:10:10.586" v="948" actId="20577"/>
          <ac:graphicFrameMkLst>
            <pc:docMk/>
            <pc:sldMk cId="1727869833" sldId="2187"/>
            <ac:graphicFrameMk id="13" creationId="{D74FCFA6-CF5E-699E-F310-9A0E9ED74270}"/>
          </ac:graphicFrameMkLst>
        </pc:graphicFrameChg>
      </pc:sldChg>
      <pc:sldChg chg="modSp mod">
        <pc:chgData name="Timur Karimsakov" userId="ea04722c-9be7-49ff-9a17-c5a9c646d8a7" providerId="ADAL" clId="{7E85B5A2-01C0-4937-8FFC-40872C8371EE}" dt="2025-01-05T07:47:13.159" v="849" actId="14100"/>
        <pc:sldMkLst>
          <pc:docMk/>
          <pc:sldMk cId="3240899165" sldId="2212"/>
        </pc:sldMkLst>
        <pc:spChg chg="mod">
          <ac:chgData name="Timur Karimsakov" userId="ea04722c-9be7-49ff-9a17-c5a9c646d8a7" providerId="ADAL" clId="{7E85B5A2-01C0-4937-8FFC-40872C8371EE}" dt="2025-01-05T07:46:54.516" v="832" actId="20577"/>
          <ac:spMkLst>
            <pc:docMk/>
            <pc:sldMk cId="3240899165" sldId="2212"/>
            <ac:spMk id="6" creationId="{4D2D685B-956E-9715-3DAA-413C293BF497}"/>
          </ac:spMkLst>
        </pc:spChg>
        <pc:spChg chg="mod">
          <ac:chgData name="Timur Karimsakov" userId="ea04722c-9be7-49ff-9a17-c5a9c646d8a7" providerId="ADAL" clId="{7E85B5A2-01C0-4937-8FFC-40872C8371EE}" dt="2025-01-05T07:46:25.473" v="816" actId="20577"/>
          <ac:spMkLst>
            <pc:docMk/>
            <pc:sldMk cId="3240899165" sldId="2212"/>
            <ac:spMk id="11" creationId="{748D97E4-FB6F-E7CB-A0AE-D0D5AC81A423}"/>
          </ac:spMkLst>
        </pc:spChg>
        <pc:spChg chg="mod">
          <ac:chgData name="Timur Karimsakov" userId="ea04722c-9be7-49ff-9a17-c5a9c646d8a7" providerId="ADAL" clId="{7E85B5A2-01C0-4937-8FFC-40872C8371EE}" dt="2025-01-05T07:47:00.886" v="837" actId="20577"/>
          <ac:spMkLst>
            <pc:docMk/>
            <pc:sldMk cId="3240899165" sldId="2212"/>
            <ac:spMk id="12" creationId="{A76CF317-8F68-B2F1-3D06-2EF2070A04BC}"/>
          </ac:spMkLst>
        </pc:spChg>
        <pc:spChg chg="mod">
          <ac:chgData name="Timur Karimsakov" userId="ea04722c-9be7-49ff-9a17-c5a9c646d8a7" providerId="ADAL" clId="{7E85B5A2-01C0-4937-8FFC-40872C8371EE}" dt="2025-01-05T07:45:55.238" v="777" actId="20577"/>
          <ac:spMkLst>
            <pc:docMk/>
            <pc:sldMk cId="3240899165" sldId="2212"/>
            <ac:spMk id="13" creationId="{4D6F066C-7E5F-3642-7FCD-7414BCFA6221}"/>
          </ac:spMkLst>
        </pc:spChg>
        <pc:spChg chg="mod">
          <ac:chgData name="Timur Karimsakov" userId="ea04722c-9be7-49ff-9a17-c5a9c646d8a7" providerId="ADAL" clId="{7E85B5A2-01C0-4937-8FFC-40872C8371EE}" dt="2025-01-05T07:45:20.677" v="746" actId="20577"/>
          <ac:spMkLst>
            <pc:docMk/>
            <pc:sldMk cId="3240899165" sldId="2212"/>
            <ac:spMk id="14" creationId="{DE17CCEB-24AB-C639-6423-8DB0648F92E9}"/>
          </ac:spMkLst>
        </pc:spChg>
        <pc:spChg chg="mod">
          <ac:chgData name="Timur Karimsakov" userId="ea04722c-9be7-49ff-9a17-c5a9c646d8a7" providerId="ADAL" clId="{7E85B5A2-01C0-4937-8FFC-40872C8371EE}" dt="2025-01-05T07:45:59.131" v="778"/>
          <ac:spMkLst>
            <pc:docMk/>
            <pc:sldMk cId="3240899165" sldId="2212"/>
            <ac:spMk id="16" creationId="{BDD4868F-415A-0E30-0561-05501135113B}"/>
          </ac:spMkLst>
        </pc:spChg>
        <pc:spChg chg="mod">
          <ac:chgData name="Timur Karimsakov" userId="ea04722c-9be7-49ff-9a17-c5a9c646d8a7" providerId="ADAL" clId="{7E85B5A2-01C0-4937-8FFC-40872C8371EE}" dt="2025-01-05T07:45:30.218" v="761" actId="20577"/>
          <ac:spMkLst>
            <pc:docMk/>
            <pc:sldMk cId="3240899165" sldId="2212"/>
            <ac:spMk id="17" creationId="{8BB79770-0F41-2DF3-47F9-C49B4773161C}"/>
          </ac:spMkLst>
        </pc:spChg>
        <pc:spChg chg="mod">
          <ac:chgData name="Timur Karimsakov" userId="ea04722c-9be7-49ff-9a17-c5a9c646d8a7" providerId="ADAL" clId="{7E85B5A2-01C0-4937-8FFC-40872C8371EE}" dt="2025-01-05T07:46:07.426" v="782" actId="6549"/>
          <ac:spMkLst>
            <pc:docMk/>
            <pc:sldMk cId="3240899165" sldId="2212"/>
            <ac:spMk id="19" creationId="{6EA4D11D-15AF-5F8D-CECA-A747B593D9F0}"/>
          </ac:spMkLst>
        </pc:spChg>
        <pc:spChg chg="mod">
          <ac:chgData name="Timur Karimsakov" userId="ea04722c-9be7-49ff-9a17-c5a9c646d8a7" providerId="ADAL" clId="{7E85B5A2-01C0-4937-8FFC-40872C8371EE}" dt="2025-01-05T07:45:34.773" v="767" actId="20577"/>
          <ac:spMkLst>
            <pc:docMk/>
            <pc:sldMk cId="3240899165" sldId="2212"/>
            <ac:spMk id="21" creationId="{FEB9B801-EDB1-D269-7612-3BC9179F48A3}"/>
          </ac:spMkLst>
        </pc:spChg>
        <pc:spChg chg="mod">
          <ac:chgData name="Timur Karimsakov" userId="ea04722c-9be7-49ff-9a17-c5a9c646d8a7" providerId="ADAL" clId="{7E85B5A2-01C0-4937-8FFC-40872C8371EE}" dt="2025-01-05T07:46:58.145" v="835" actId="20577"/>
          <ac:spMkLst>
            <pc:docMk/>
            <pc:sldMk cId="3240899165" sldId="2212"/>
            <ac:spMk id="22" creationId="{1F959469-4747-9E14-9895-BDBF7B7FE1B9}"/>
          </ac:spMkLst>
        </pc:spChg>
        <pc:spChg chg="mod">
          <ac:chgData name="Timur Karimsakov" userId="ea04722c-9be7-49ff-9a17-c5a9c646d8a7" providerId="ADAL" clId="{7E85B5A2-01C0-4937-8FFC-40872C8371EE}" dt="2025-01-05T07:45:40.644" v="771" actId="20577"/>
          <ac:spMkLst>
            <pc:docMk/>
            <pc:sldMk cId="3240899165" sldId="2212"/>
            <ac:spMk id="24" creationId="{9741CBEE-37A6-CA76-08AD-1E7F5D63011A}"/>
          </ac:spMkLst>
        </pc:spChg>
        <pc:spChg chg="mod">
          <ac:chgData name="Timur Karimsakov" userId="ea04722c-9be7-49ff-9a17-c5a9c646d8a7" providerId="ADAL" clId="{7E85B5A2-01C0-4937-8FFC-40872C8371EE}" dt="2025-01-05T07:45:46.060" v="775" actId="20577"/>
          <ac:spMkLst>
            <pc:docMk/>
            <pc:sldMk cId="3240899165" sldId="2212"/>
            <ac:spMk id="27" creationId="{FE71BC13-8269-9124-132E-63ABD8B0C1E6}"/>
          </ac:spMkLst>
        </pc:spChg>
        <pc:spChg chg="mod">
          <ac:chgData name="Timur Karimsakov" userId="ea04722c-9be7-49ff-9a17-c5a9c646d8a7" providerId="ADAL" clId="{7E85B5A2-01C0-4937-8FFC-40872C8371EE}" dt="2025-01-05T07:46:17.119" v="805" actId="20577"/>
          <ac:spMkLst>
            <pc:docMk/>
            <pc:sldMk cId="3240899165" sldId="2212"/>
            <ac:spMk id="28" creationId="{892F111B-E474-A3DA-31E6-555CFD0512B3}"/>
          </ac:spMkLst>
        </pc:spChg>
        <pc:spChg chg="mod">
          <ac:chgData name="Timur Karimsakov" userId="ea04722c-9be7-49ff-9a17-c5a9c646d8a7" providerId="ADAL" clId="{7E85B5A2-01C0-4937-8FFC-40872C8371EE}" dt="2025-01-05T07:47:13.159" v="849" actId="14100"/>
          <ac:spMkLst>
            <pc:docMk/>
            <pc:sldMk cId="3240899165" sldId="2212"/>
            <ac:spMk id="38" creationId="{4A77129F-0CEE-7351-EC4A-9321C484638E}"/>
          </ac:spMkLst>
        </pc:spChg>
        <pc:spChg chg="mod">
          <ac:chgData name="Timur Karimsakov" userId="ea04722c-9be7-49ff-9a17-c5a9c646d8a7" providerId="ADAL" clId="{7E85B5A2-01C0-4937-8FFC-40872C8371EE}" dt="2025-01-05T07:46:35.366" v="827" actId="20577"/>
          <ac:spMkLst>
            <pc:docMk/>
            <pc:sldMk cId="3240899165" sldId="2212"/>
            <ac:spMk id="40" creationId="{059BE8AB-FD6E-1DB3-FFF1-D53DE4C2F007}"/>
          </ac:spMkLst>
        </pc:spChg>
        <pc:spChg chg="mod">
          <ac:chgData name="Timur Karimsakov" userId="ea04722c-9be7-49ff-9a17-c5a9c646d8a7" providerId="ADAL" clId="{7E85B5A2-01C0-4937-8FFC-40872C8371EE}" dt="2025-01-05T07:47:10.092" v="847" actId="20577"/>
          <ac:spMkLst>
            <pc:docMk/>
            <pc:sldMk cId="3240899165" sldId="2212"/>
            <ac:spMk id="41" creationId="{1B76418E-E0A3-2871-3BA1-41DE1238C80A}"/>
          </ac:spMkLst>
        </pc:spChg>
        <pc:spChg chg="mod">
          <ac:chgData name="Timur Karimsakov" userId="ea04722c-9be7-49ff-9a17-c5a9c646d8a7" providerId="ADAL" clId="{7E85B5A2-01C0-4937-8FFC-40872C8371EE}" dt="2025-01-05T07:46:43.098" v="828"/>
          <ac:spMkLst>
            <pc:docMk/>
            <pc:sldMk cId="3240899165" sldId="2212"/>
            <ac:spMk id="42" creationId="{671F7A4F-6454-C2B9-7580-B73CCF50DB3A}"/>
          </ac:spMkLst>
        </pc:spChg>
      </pc:sldChg>
      <pc:sldChg chg="addSp delSp modSp mod">
        <pc:chgData name="Timur Karimsakov" userId="ea04722c-9be7-49ff-9a17-c5a9c646d8a7" providerId="ADAL" clId="{7E85B5A2-01C0-4937-8FFC-40872C8371EE}" dt="2025-01-05T07:40:15.495" v="458" actId="1036"/>
        <pc:sldMkLst>
          <pc:docMk/>
          <pc:sldMk cId="2566058658" sldId="2262"/>
        </pc:sldMkLst>
        <pc:spChg chg="mod">
          <ac:chgData name="Timur Karimsakov" userId="ea04722c-9be7-49ff-9a17-c5a9c646d8a7" providerId="ADAL" clId="{7E85B5A2-01C0-4937-8FFC-40872C8371EE}" dt="2025-01-05T07:40:15.495" v="458" actId="1036"/>
          <ac:spMkLst>
            <pc:docMk/>
            <pc:sldMk cId="2566058658" sldId="2262"/>
            <ac:spMk id="3" creationId="{6112DD0B-7B8C-60CE-1C86-87B7A886817E}"/>
          </ac:spMkLst>
        </pc:spChg>
        <pc:spChg chg="mod">
          <ac:chgData name="Timur Karimsakov" userId="ea04722c-9be7-49ff-9a17-c5a9c646d8a7" providerId="ADAL" clId="{7E85B5A2-01C0-4937-8FFC-40872C8371EE}" dt="2025-01-05T07:39:17.140" v="372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Timur Karimsakov" userId="ea04722c-9be7-49ff-9a17-c5a9c646d8a7" providerId="ADAL" clId="{7E85B5A2-01C0-4937-8FFC-40872C8371EE}" dt="2025-01-05T07:40:11.220" v="447" actId="1036"/>
          <ac:spMkLst>
            <pc:docMk/>
            <pc:sldMk cId="2566058658" sldId="2262"/>
            <ac:spMk id="5" creationId="{1FEC01A9-B982-EE03-7035-09F79EDE287C}"/>
          </ac:spMkLst>
        </pc:spChg>
        <pc:spChg chg="mod">
          <ac:chgData name="Timur Karimsakov" userId="ea04722c-9be7-49ff-9a17-c5a9c646d8a7" providerId="ADAL" clId="{7E85B5A2-01C0-4937-8FFC-40872C8371EE}" dt="2025-01-05T07:40:07.656" v="437" actId="1038"/>
          <ac:spMkLst>
            <pc:docMk/>
            <pc:sldMk cId="2566058658" sldId="2262"/>
            <ac:spMk id="6" creationId="{E321BFED-674E-6FE4-4ABA-32A133ED0F26}"/>
          </ac:spMkLst>
        </pc:spChg>
        <pc:spChg chg="mod">
          <ac:chgData name="Timur Karimsakov" userId="ea04722c-9be7-49ff-9a17-c5a9c646d8a7" providerId="ADAL" clId="{7E85B5A2-01C0-4937-8FFC-40872C8371EE}" dt="2025-01-05T07:40:03.461" v="426" actId="1036"/>
          <ac:spMkLst>
            <pc:docMk/>
            <pc:sldMk cId="2566058658" sldId="2262"/>
            <ac:spMk id="9" creationId="{D9B84EA8-B855-220B-2BA5-6E20C8555659}"/>
          </ac:spMkLst>
        </pc:spChg>
        <pc:spChg chg="mod">
          <ac:chgData name="Timur Karimsakov" userId="ea04722c-9be7-49ff-9a17-c5a9c646d8a7" providerId="ADAL" clId="{7E85B5A2-01C0-4937-8FFC-40872C8371EE}" dt="2025-01-05T07:39:57.690" v="419" actId="1037"/>
          <ac:spMkLst>
            <pc:docMk/>
            <pc:sldMk cId="2566058658" sldId="2262"/>
            <ac:spMk id="10" creationId="{CB3EAD57-DE5A-0703-E4CD-BAC797260763}"/>
          </ac:spMkLst>
        </pc:spChg>
        <pc:spChg chg="mod">
          <ac:chgData name="Timur Karimsakov" userId="ea04722c-9be7-49ff-9a17-c5a9c646d8a7" providerId="ADAL" clId="{7E85B5A2-01C0-4937-8FFC-40872C8371EE}" dt="2025-01-05T07:39:53.271" v="413" actId="1036"/>
          <ac:spMkLst>
            <pc:docMk/>
            <pc:sldMk cId="2566058658" sldId="2262"/>
            <ac:spMk id="11" creationId="{63835E1C-152A-FCA4-3271-106825AA401F}"/>
          </ac:spMkLst>
        </pc:spChg>
        <pc:spChg chg="mod">
          <ac:chgData name="Timur Karimsakov" userId="ea04722c-9be7-49ff-9a17-c5a9c646d8a7" providerId="ADAL" clId="{7E85B5A2-01C0-4937-8FFC-40872C8371EE}" dt="2025-01-05T07:39:23.114" v="378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Timur Karimsakov" userId="ea04722c-9be7-49ff-9a17-c5a9c646d8a7" providerId="ADAL" clId="{7E85B5A2-01C0-4937-8FFC-40872C8371EE}" dt="2025-01-05T07:37:01.353" v="325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Timur Karimsakov" userId="ea04722c-9be7-49ff-9a17-c5a9c646d8a7" providerId="ADAL" clId="{7E85B5A2-01C0-4937-8FFC-40872C8371EE}" dt="2025-01-05T07:39:01.524" v="350" actId="20577"/>
          <ac:spMkLst>
            <pc:docMk/>
            <pc:sldMk cId="2566058658" sldId="2262"/>
            <ac:spMk id="27" creationId="{6B3D17CA-F792-DC19-AF9F-1B3065878F5C}"/>
          </ac:spMkLst>
        </pc:spChg>
        <pc:spChg chg="mod">
          <ac:chgData name="Timur Karimsakov" userId="ea04722c-9be7-49ff-9a17-c5a9c646d8a7" providerId="ADAL" clId="{7E85B5A2-01C0-4937-8FFC-40872C8371EE}" dt="2025-01-05T07:38:10.953" v="344" actId="1076"/>
          <ac:spMkLst>
            <pc:docMk/>
            <pc:sldMk cId="2566058658" sldId="2262"/>
            <ac:spMk id="29" creationId="{50AE4A15-9F57-44AA-899F-EB3CD86D6E59}"/>
          </ac:spMkLst>
        </pc:spChg>
        <pc:spChg chg="mod">
          <ac:chgData name="Timur Karimsakov" userId="ea04722c-9be7-49ff-9a17-c5a9c646d8a7" providerId="ADAL" clId="{7E85B5A2-01C0-4937-8FFC-40872C8371EE}" dt="2025-01-05T07:38:06.554" v="342" actId="1076"/>
          <ac:spMkLst>
            <pc:docMk/>
            <pc:sldMk cId="2566058658" sldId="2262"/>
            <ac:spMk id="30" creationId="{1D331076-3D9C-589E-9C92-D37CFBF5E86F}"/>
          </ac:spMkLst>
        </pc:spChg>
        <pc:spChg chg="mod">
          <ac:chgData name="Timur Karimsakov" userId="ea04722c-9be7-49ff-9a17-c5a9c646d8a7" providerId="ADAL" clId="{7E85B5A2-01C0-4937-8FFC-40872C8371EE}" dt="2025-01-05T07:37:57.556" v="339" actId="1076"/>
          <ac:spMkLst>
            <pc:docMk/>
            <pc:sldMk cId="2566058658" sldId="2262"/>
            <ac:spMk id="31" creationId="{31A5032B-A80E-2652-04BE-A7D3E6D4EC3C}"/>
          </ac:spMkLst>
        </pc:spChg>
        <pc:spChg chg="mod">
          <ac:chgData name="Timur Karimsakov" userId="ea04722c-9be7-49ff-9a17-c5a9c646d8a7" providerId="ADAL" clId="{7E85B5A2-01C0-4937-8FFC-40872C8371EE}" dt="2025-01-05T07:38:03.089" v="341" actId="1076"/>
          <ac:spMkLst>
            <pc:docMk/>
            <pc:sldMk cId="2566058658" sldId="2262"/>
            <ac:spMk id="32" creationId="{23DA79C4-C5AA-CB8D-3B59-D6CA95CA6679}"/>
          </ac:spMkLst>
        </pc:spChg>
        <pc:spChg chg="mod">
          <ac:chgData name="Timur Karimsakov" userId="ea04722c-9be7-49ff-9a17-c5a9c646d8a7" providerId="ADAL" clId="{7E85B5A2-01C0-4937-8FFC-40872C8371EE}" dt="2025-01-05T07:37:59.939" v="340" actId="1076"/>
          <ac:spMkLst>
            <pc:docMk/>
            <pc:sldMk cId="2566058658" sldId="2262"/>
            <ac:spMk id="35" creationId="{0268E12B-EE54-CB5F-0393-744D19CE183A}"/>
          </ac:spMkLst>
        </pc:spChg>
        <pc:spChg chg="mod">
          <ac:chgData name="Timur Karimsakov" userId="ea04722c-9be7-49ff-9a17-c5a9c646d8a7" providerId="ADAL" clId="{7E85B5A2-01C0-4937-8FFC-40872C8371EE}" dt="2025-01-05T07:38:13.405" v="345" actId="1076"/>
          <ac:spMkLst>
            <pc:docMk/>
            <pc:sldMk cId="2566058658" sldId="2262"/>
            <ac:spMk id="36" creationId="{EE455E28-7A5A-4B1D-C904-28566AA84EE5}"/>
          </ac:spMkLst>
        </pc:spChg>
        <pc:spChg chg="mod">
          <ac:chgData name="Timur Karimsakov" userId="ea04722c-9be7-49ff-9a17-c5a9c646d8a7" providerId="ADAL" clId="{7E85B5A2-01C0-4937-8FFC-40872C8371EE}" dt="2025-01-05T07:39:49.654" v="401" actId="1036"/>
          <ac:spMkLst>
            <pc:docMk/>
            <pc:sldMk cId="2566058658" sldId="2262"/>
            <ac:spMk id="43" creationId="{76E9DA9A-37A9-3B40-F43F-1AE01A891458}"/>
          </ac:spMkLst>
        </pc:spChg>
        <pc:spChg chg="mod">
          <ac:chgData name="Timur Karimsakov" userId="ea04722c-9be7-49ff-9a17-c5a9c646d8a7" providerId="ADAL" clId="{7E85B5A2-01C0-4937-8FFC-40872C8371EE}" dt="2025-01-05T07:37:53.401" v="338" actId="1035"/>
          <ac:spMkLst>
            <pc:docMk/>
            <pc:sldMk cId="2566058658" sldId="2262"/>
            <ac:spMk id="69" creationId="{B877ECC2-2520-FEDB-518D-37474CC4E7F2}"/>
          </ac:spMkLst>
        </pc:spChg>
        <pc:graphicFrameChg chg="del">
          <ac:chgData name="Timur Karimsakov" userId="ea04722c-9be7-49ff-9a17-c5a9c646d8a7" providerId="ADAL" clId="{7E85B5A2-01C0-4937-8FFC-40872C8371EE}" dt="2025-01-05T07:37:38.338" v="331" actId="478"/>
          <ac:graphicFrameMkLst>
            <pc:docMk/>
            <pc:sldMk cId="2566058658" sldId="2262"/>
            <ac:graphicFrameMk id="12" creationId="{3CAC659A-6DA5-1D89-7F77-91D5EBA1EBDA}"/>
          </ac:graphicFrameMkLst>
        </pc:graphicFrameChg>
        <pc:graphicFrameChg chg="add mod">
          <ac:chgData name="Timur Karimsakov" userId="ea04722c-9be7-49ff-9a17-c5a9c646d8a7" providerId="ADAL" clId="{7E85B5A2-01C0-4937-8FFC-40872C8371EE}" dt="2025-01-05T07:37:34.705" v="330"/>
          <ac:graphicFrameMkLst>
            <pc:docMk/>
            <pc:sldMk cId="2566058658" sldId="2262"/>
            <ac:graphicFrameMk id="25" creationId="{C503DED6-5C84-E74A-B487-7D635F555080}"/>
          </ac:graphicFrameMkLst>
        </pc:graphicFrameChg>
        <pc:graphicFrameChg chg="del">
          <ac:chgData name="Timur Karimsakov" userId="ea04722c-9be7-49ff-9a17-c5a9c646d8a7" providerId="ADAL" clId="{7E85B5A2-01C0-4937-8FFC-40872C8371EE}" dt="2025-01-05T07:37:26.245" v="328" actId="478"/>
          <ac:graphicFrameMkLst>
            <pc:docMk/>
            <pc:sldMk cId="2566058658" sldId="2262"/>
            <ac:graphicFrameMk id="38" creationId="{9B3260FC-675B-5AD5-3F71-7E2C395F3061}"/>
          </ac:graphicFrameMkLst>
        </pc:graphicFrameChg>
        <pc:graphicFrameChg chg="add mod">
          <ac:chgData name="Timur Karimsakov" userId="ea04722c-9be7-49ff-9a17-c5a9c646d8a7" providerId="ADAL" clId="{7E85B5A2-01C0-4937-8FFC-40872C8371EE}" dt="2025-01-05T07:37:49.612" v="335" actId="167"/>
          <ac:graphicFrameMkLst>
            <pc:docMk/>
            <pc:sldMk cId="2566058658" sldId="2262"/>
            <ac:graphicFrameMk id="51" creationId="{0602B99C-50A7-6701-517E-A70BDD36DEDB}"/>
          </ac:graphicFrameMkLst>
        </pc:graphicFrame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28" creationId="{D2D68393-3B34-5CE9-03EC-01300402F4C3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37" creationId="{BEF1D2DB-ED78-D8F7-4483-817B3523ADC4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39" creationId="{F2872E0C-2FDF-F683-8EEA-95EBEE240225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40" creationId="{5BFF037B-80AE-6172-B4CE-EA053D92537B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41" creationId="{7A3B58C8-91D4-BA71-BDC7-8212431F126E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42" creationId="{3C48E14B-2F0B-3ABF-E60C-79DCB35DE712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44" creationId="{118EEA96-9124-07E7-247B-2C680DF795A0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45" creationId="{0A5870A7-9599-A554-3AF2-CFB06F9B345F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46" creationId="{CF814485-1F83-7D9B-3E2B-DAB8AF320972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47" creationId="{8D9DAD90-C35F-41A1-8730-9601825E5559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48" creationId="{C605E83C-B78E-D08B-2F65-9478F6AB9092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49" creationId="{FF98BBB6-5B4B-8144-C45D-97FB8AAEE1F6}"/>
          </ac:cxnSpMkLst>
        </pc:cxnChg>
        <pc:cxnChg chg="add mod">
          <ac:chgData name="Timur Karimsakov" userId="ea04722c-9be7-49ff-9a17-c5a9c646d8a7" providerId="ADAL" clId="{7E85B5A2-01C0-4937-8FFC-40872C8371EE}" dt="2025-01-05T07:37:34.705" v="330"/>
          <ac:cxnSpMkLst>
            <pc:docMk/>
            <pc:sldMk cId="2566058658" sldId="2262"/>
            <ac:cxnSpMk id="50" creationId="{8AA23143-B6F0-94DE-32AD-B967D353EDD1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2" creationId="{B452BC82-4FC0-63BA-0152-225F46211C19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3" creationId="{BFEABE92-5C1F-12D3-3C34-904176FCF751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4" creationId="{90B927FB-0A46-C21E-F975-B1BC52596552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5" creationId="{30905C40-6692-BF7A-7C62-BF5EFF2DA95B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7" creationId="{9E4F7EB1-B855-AF1E-D979-4B0A24949F66}"/>
          </ac:cxnSpMkLst>
        </pc:cxnChg>
        <pc:cxnChg chg="add mod">
          <ac:chgData name="Timur Karimsakov" userId="ea04722c-9be7-49ff-9a17-c5a9c646d8a7" providerId="ADAL" clId="{7E85B5A2-01C0-4937-8FFC-40872C8371EE}" dt="2025-01-05T07:37:39.521" v="332"/>
          <ac:cxnSpMkLst>
            <pc:docMk/>
            <pc:sldMk cId="2566058658" sldId="2262"/>
            <ac:cxnSpMk id="58" creationId="{98324BBD-69EB-BB80-EDE1-720BAC08F3E4}"/>
          </ac:cxnSpMkLst>
        </pc:cxnChg>
        <pc:cxnChg chg="add mod">
          <ac:chgData name="Timur Karimsakov" userId="ea04722c-9be7-49ff-9a17-c5a9c646d8a7" providerId="ADAL" clId="{7E85B5A2-01C0-4937-8FFC-40872C8371EE}" dt="2025-01-05T07:38:21.333" v="346" actId="1037"/>
          <ac:cxnSpMkLst>
            <pc:docMk/>
            <pc:sldMk cId="2566058658" sldId="2262"/>
            <ac:cxnSpMk id="59" creationId="{2D722F79-D4AB-88D0-AF05-70F0C7A52981}"/>
          </ac:cxnSpMkLst>
        </pc:cxnChg>
        <pc:cxnChg chg="del">
          <ac:chgData name="Timur Karimsakov" userId="ea04722c-9be7-49ff-9a17-c5a9c646d8a7" providerId="ADAL" clId="{7E85B5A2-01C0-4937-8FFC-40872C8371EE}" dt="2025-01-05T07:37:34.202" v="329" actId="478"/>
          <ac:cxnSpMkLst>
            <pc:docMk/>
            <pc:sldMk cId="2566058658" sldId="2262"/>
            <ac:cxnSpMk id="66" creationId="{88CC2AC5-C9CD-8D32-5E6D-152230D066B4}"/>
          </ac:cxnSpMkLst>
        </pc:cxnChg>
      </pc:sldChg>
      <pc:sldChg chg="addSp delSp modSp mod">
        <pc:chgData name="Timur Karimsakov" userId="ea04722c-9be7-49ff-9a17-c5a9c646d8a7" providerId="ADAL" clId="{7E85B5A2-01C0-4937-8FFC-40872C8371EE}" dt="2025-01-05T07:36:18.079" v="319" actId="20577"/>
        <pc:sldMkLst>
          <pc:docMk/>
          <pc:sldMk cId="1261594426" sldId="2272"/>
        </pc:sldMkLst>
        <pc:spChg chg="mod">
          <ac:chgData name="Timur Karimsakov" userId="ea04722c-9be7-49ff-9a17-c5a9c646d8a7" providerId="ADAL" clId="{7E85B5A2-01C0-4937-8FFC-40872C8371EE}" dt="2025-01-05T07:19:15.955" v="150" actId="20577"/>
          <ac:spMkLst>
            <pc:docMk/>
            <pc:sldMk cId="1261594426" sldId="2272"/>
            <ac:spMk id="4" creationId="{D9A7DC92-E6E0-F85D-D643-D022689C0378}"/>
          </ac:spMkLst>
        </pc:spChg>
        <pc:spChg chg="mod">
          <ac:chgData name="Timur Karimsakov" userId="ea04722c-9be7-49ff-9a17-c5a9c646d8a7" providerId="ADAL" clId="{7E85B5A2-01C0-4937-8FFC-40872C8371EE}" dt="2025-01-05T07:20:08.429" v="165" actId="1037"/>
          <ac:spMkLst>
            <pc:docMk/>
            <pc:sldMk cId="1261594426" sldId="2272"/>
            <ac:spMk id="23" creationId="{7D421DA6-1D41-06CE-B27D-3C5617A3FD59}"/>
          </ac:spMkLst>
        </pc:spChg>
        <pc:spChg chg="mod">
          <ac:chgData name="Timur Karimsakov" userId="ea04722c-9be7-49ff-9a17-c5a9c646d8a7" providerId="ADAL" clId="{7E85B5A2-01C0-4937-8FFC-40872C8371EE}" dt="2025-01-05T07:20:11.173" v="166" actId="1076"/>
          <ac:spMkLst>
            <pc:docMk/>
            <pc:sldMk cId="1261594426" sldId="2272"/>
            <ac:spMk id="24" creationId="{3C902C3C-F5F7-93AB-F435-454396E01B7C}"/>
          </ac:spMkLst>
        </pc:spChg>
        <pc:spChg chg="mod">
          <ac:chgData name="Timur Karimsakov" userId="ea04722c-9be7-49ff-9a17-c5a9c646d8a7" providerId="ADAL" clId="{7E85B5A2-01C0-4937-8FFC-40872C8371EE}" dt="2025-01-05T07:20:20.524" v="172" actId="20577"/>
          <ac:spMkLst>
            <pc:docMk/>
            <pc:sldMk cId="1261594426" sldId="2272"/>
            <ac:spMk id="31" creationId="{F2779E52-9328-13C5-AD85-F6133651076F}"/>
          </ac:spMkLst>
        </pc:spChg>
        <pc:spChg chg="mod">
          <ac:chgData name="Timur Karimsakov" userId="ea04722c-9be7-49ff-9a17-c5a9c646d8a7" providerId="ADAL" clId="{7E85B5A2-01C0-4937-8FFC-40872C8371EE}" dt="2025-01-05T07:34:49.715" v="235" actId="20577"/>
          <ac:spMkLst>
            <pc:docMk/>
            <pc:sldMk cId="1261594426" sldId="2272"/>
            <ac:spMk id="58" creationId="{9FDAAEAD-F9F3-F2C5-0B2C-A72F67FF8DD0}"/>
          </ac:spMkLst>
        </pc:spChg>
        <pc:spChg chg="mod">
          <ac:chgData name="Timur Karimsakov" userId="ea04722c-9be7-49ff-9a17-c5a9c646d8a7" providerId="ADAL" clId="{7E85B5A2-01C0-4937-8FFC-40872C8371EE}" dt="2025-01-05T07:35:03.606" v="251" actId="20577"/>
          <ac:spMkLst>
            <pc:docMk/>
            <pc:sldMk cId="1261594426" sldId="2272"/>
            <ac:spMk id="70" creationId="{01FF01BD-971F-286C-5861-902EE7FAEDC4}"/>
          </ac:spMkLst>
        </pc:spChg>
        <pc:spChg chg="mod">
          <ac:chgData name="Timur Karimsakov" userId="ea04722c-9be7-49ff-9a17-c5a9c646d8a7" providerId="ADAL" clId="{7E85B5A2-01C0-4937-8FFC-40872C8371EE}" dt="2025-01-05T07:35:07.894" v="256" actId="20577"/>
          <ac:spMkLst>
            <pc:docMk/>
            <pc:sldMk cId="1261594426" sldId="2272"/>
            <ac:spMk id="71" creationId="{CE491952-3AB3-9FD7-8951-12CA28B6EECB}"/>
          </ac:spMkLst>
        </pc:spChg>
        <pc:spChg chg="mod">
          <ac:chgData name="Timur Karimsakov" userId="ea04722c-9be7-49ff-9a17-c5a9c646d8a7" providerId="ADAL" clId="{7E85B5A2-01C0-4937-8FFC-40872C8371EE}" dt="2025-01-05T07:35:19.888" v="262" actId="20577"/>
          <ac:spMkLst>
            <pc:docMk/>
            <pc:sldMk cId="1261594426" sldId="2272"/>
            <ac:spMk id="72" creationId="{C11246D2-B9FB-E296-C745-D62CE3937417}"/>
          </ac:spMkLst>
        </pc:spChg>
        <pc:spChg chg="mod">
          <ac:chgData name="Timur Karimsakov" userId="ea04722c-9be7-49ff-9a17-c5a9c646d8a7" providerId="ADAL" clId="{7E85B5A2-01C0-4937-8FFC-40872C8371EE}" dt="2025-01-05T07:35:26.859" v="273" actId="20577"/>
          <ac:spMkLst>
            <pc:docMk/>
            <pc:sldMk cId="1261594426" sldId="2272"/>
            <ac:spMk id="73" creationId="{2D992785-773D-1CE8-A2A5-1ADF5DB96E8C}"/>
          </ac:spMkLst>
        </pc:spChg>
        <pc:spChg chg="mod">
          <ac:chgData name="Timur Karimsakov" userId="ea04722c-9be7-49ff-9a17-c5a9c646d8a7" providerId="ADAL" clId="{7E85B5A2-01C0-4937-8FFC-40872C8371EE}" dt="2025-01-05T07:35:32.643" v="281" actId="20577"/>
          <ac:spMkLst>
            <pc:docMk/>
            <pc:sldMk cId="1261594426" sldId="2272"/>
            <ac:spMk id="74" creationId="{E991646E-A8F2-59D5-A098-AA2EBC1F6A59}"/>
          </ac:spMkLst>
        </pc:spChg>
        <pc:spChg chg="mod">
          <ac:chgData name="Timur Karimsakov" userId="ea04722c-9be7-49ff-9a17-c5a9c646d8a7" providerId="ADAL" clId="{7E85B5A2-01C0-4937-8FFC-40872C8371EE}" dt="2025-01-05T07:35:36.321" v="284" actId="20577"/>
          <ac:spMkLst>
            <pc:docMk/>
            <pc:sldMk cId="1261594426" sldId="2272"/>
            <ac:spMk id="75" creationId="{83792330-F348-7BFC-E257-347E012AB71E}"/>
          </ac:spMkLst>
        </pc:spChg>
        <pc:spChg chg="mod">
          <ac:chgData name="Timur Karimsakov" userId="ea04722c-9be7-49ff-9a17-c5a9c646d8a7" providerId="ADAL" clId="{7E85B5A2-01C0-4937-8FFC-40872C8371EE}" dt="2025-01-05T07:35:41.407" v="292" actId="20577"/>
          <ac:spMkLst>
            <pc:docMk/>
            <pc:sldMk cId="1261594426" sldId="2272"/>
            <ac:spMk id="76" creationId="{6FDB3971-EECF-EA98-6396-E3A8AE79946B}"/>
          </ac:spMkLst>
        </pc:spChg>
        <pc:spChg chg="mod">
          <ac:chgData name="Timur Karimsakov" userId="ea04722c-9be7-49ff-9a17-c5a9c646d8a7" providerId="ADAL" clId="{7E85B5A2-01C0-4937-8FFC-40872C8371EE}" dt="2025-01-05T07:35:47.522" v="297" actId="20577"/>
          <ac:spMkLst>
            <pc:docMk/>
            <pc:sldMk cId="1261594426" sldId="2272"/>
            <ac:spMk id="78" creationId="{5CC7486A-E0A5-C7A5-E0C4-40F296DB64BC}"/>
          </ac:spMkLst>
        </pc:spChg>
        <pc:spChg chg="mod">
          <ac:chgData name="Timur Karimsakov" userId="ea04722c-9be7-49ff-9a17-c5a9c646d8a7" providerId="ADAL" clId="{7E85B5A2-01C0-4937-8FFC-40872C8371EE}" dt="2025-01-05T07:35:58.337" v="308" actId="20577"/>
          <ac:spMkLst>
            <pc:docMk/>
            <pc:sldMk cId="1261594426" sldId="2272"/>
            <ac:spMk id="82" creationId="{185F64B6-53E9-3805-3600-E5B96754C9E7}"/>
          </ac:spMkLst>
        </pc:spChg>
        <pc:spChg chg="mod">
          <ac:chgData name="Timur Karimsakov" userId="ea04722c-9be7-49ff-9a17-c5a9c646d8a7" providerId="ADAL" clId="{7E85B5A2-01C0-4937-8FFC-40872C8371EE}" dt="2025-01-05T07:33:08.722" v="220" actId="20577"/>
          <ac:spMkLst>
            <pc:docMk/>
            <pc:sldMk cId="1261594426" sldId="2272"/>
            <ac:spMk id="86" creationId="{9EF1E2AC-B7F0-9755-A337-6F10DC256FDC}"/>
          </ac:spMkLst>
        </pc:spChg>
        <pc:spChg chg="mod">
          <ac:chgData name="Timur Karimsakov" userId="ea04722c-9be7-49ff-9a17-c5a9c646d8a7" providerId="ADAL" clId="{7E85B5A2-01C0-4937-8FFC-40872C8371EE}" dt="2025-01-05T07:36:08.018" v="314" actId="20577"/>
          <ac:spMkLst>
            <pc:docMk/>
            <pc:sldMk cId="1261594426" sldId="2272"/>
            <ac:spMk id="108" creationId="{E9D785D1-8548-60B6-6B2F-3479E1AC5FE5}"/>
          </ac:spMkLst>
        </pc:spChg>
        <pc:spChg chg="mod">
          <ac:chgData name="Timur Karimsakov" userId="ea04722c-9be7-49ff-9a17-c5a9c646d8a7" providerId="ADAL" clId="{7E85B5A2-01C0-4937-8FFC-40872C8371EE}" dt="2025-01-05T07:36:18.079" v="319" actId="20577"/>
          <ac:spMkLst>
            <pc:docMk/>
            <pc:sldMk cId="1261594426" sldId="2272"/>
            <ac:spMk id="110" creationId="{E524FFA5-1F53-CE72-26C8-AFB0266FA1A9}"/>
          </ac:spMkLst>
        </pc:spChg>
        <pc:spChg chg="mod">
          <ac:chgData name="Timur Karimsakov" userId="ea04722c-9be7-49ff-9a17-c5a9c646d8a7" providerId="ADAL" clId="{7E85B5A2-01C0-4937-8FFC-40872C8371EE}" dt="2025-01-05T07:34:57.817" v="245" actId="20577"/>
          <ac:spMkLst>
            <pc:docMk/>
            <pc:sldMk cId="1261594426" sldId="2272"/>
            <ac:spMk id="112" creationId="{47A7E164-AAB3-D1C0-172E-E6484AD7CC4B}"/>
          </ac:spMkLst>
        </pc:spChg>
        <pc:spChg chg="mod">
          <ac:chgData name="Timur Karimsakov" userId="ea04722c-9be7-49ff-9a17-c5a9c646d8a7" providerId="ADAL" clId="{7E85B5A2-01C0-4937-8FFC-40872C8371EE}" dt="2025-01-05T07:19:11.933" v="144" actId="20577"/>
          <ac:spMkLst>
            <pc:docMk/>
            <pc:sldMk cId="1261594426" sldId="2272"/>
            <ac:spMk id="114" creationId="{94A33B26-7243-4A11-091F-CD34CBE69720}"/>
          </ac:spMkLst>
        </pc:spChg>
        <pc:graphicFrameChg chg="add mod">
          <ac:chgData name="Timur Karimsakov" userId="ea04722c-9be7-49ff-9a17-c5a9c646d8a7" providerId="ADAL" clId="{7E85B5A2-01C0-4937-8FFC-40872C8371EE}" dt="2025-01-05T07:19:25.478" v="152"/>
          <ac:graphicFrameMkLst>
            <pc:docMk/>
            <pc:sldMk cId="1261594426" sldId="2272"/>
            <ac:graphicFrameMk id="3" creationId="{E26132AD-0C16-5903-569E-ABB426B80885}"/>
          </ac:graphicFrameMkLst>
        </pc:graphicFrameChg>
        <pc:graphicFrameChg chg="add mod">
          <ac:chgData name="Timur Karimsakov" userId="ea04722c-9be7-49ff-9a17-c5a9c646d8a7" providerId="ADAL" clId="{7E85B5A2-01C0-4937-8FFC-40872C8371EE}" dt="2025-01-05T07:20:03.298" v="155" actId="167"/>
          <ac:graphicFrameMkLst>
            <pc:docMk/>
            <pc:sldMk cId="1261594426" sldId="2272"/>
            <ac:graphicFrameMk id="5" creationId="{55C9393F-5C56-B221-75A0-D302DCC0CAE7}"/>
          </ac:graphicFrameMkLst>
        </pc:graphicFrameChg>
        <pc:graphicFrameChg chg="del">
          <ac:chgData name="Timur Karimsakov" userId="ea04722c-9be7-49ff-9a17-c5a9c646d8a7" providerId="ADAL" clId="{7E85B5A2-01C0-4937-8FFC-40872C8371EE}" dt="2025-01-05T07:19:24.571" v="151" actId="478"/>
          <ac:graphicFrameMkLst>
            <pc:docMk/>
            <pc:sldMk cId="1261594426" sldId="2272"/>
            <ac:graphicFrameMk id="6" creationId="{F839CC89-725E-E995-BED3-B40FF4B9BCCC}"/>
          </ac:graphicFrameMkLst>
        </pc:graphicFrameChg>
        <pc:cxnChg chg="add mod">
          <ac:chgData name="Timur Karimsakov" userId="ea04722c-9be7-49ff-9a17-c5a9c646d8a7" providerId="ADAL" clId="{7E85B5A2-01C0-4937-8FFC-40872C8371EE}" dt="2025-01-05T07:19:45.037" v="154"/>
          <ac:cxnSpMkLst>
            <pc:docMk/>
            <pc:sldMk cId="1261594426" sldId="2272"/>
            <ac:cxnSpMk id="8" creationId="{C0D7C9B9-CB96-4833-8101-F6F8B65140A4}"/>
          </ac:cxnSpMkLst>
        </pc:cxnChg>
        <pc:cxnChg chg="add mod">
          <ac:chgData name="Timur Karimsakov" userId="ea04722c-9be7-49ff-9a17-c5a9c646d8a7" providerId="ADAL" clId="{7E85B5A2-01C0-4937-8FFC-40872C8371EE}" dt="2025-01-05T07:19:45.037" v="154"/>
          <ac:cxnSpMkLst>
            <pc:docMk/>
            <pc:sldMk cId="1261594426" sldId="2272"/>
            <ac:cxnSpMk id="10" creationId="{9B05D641-2C9F-A2C3-15C7-71F2FBB3DACF}"/>
          </ac:cxnSpMkLst>
        </pc:cxnChg>
        <pc:cxnChg chg="add mod">
          <ac:chgData name="Timur Karimsakov" userId="ea04722c-9be7-49ff-9a17-c5a9c646d8a7" providerId="ADAL" clId="{7E85B5A2-01C0-4937-8FFC-40872C8371EE}" dt="2025-01-05T07:19:45.037" v="154"/>
          <ac:cxnSpMkLst>
            <pc:docMk/>
            <pc:sldMk cId="1261594426" sldId="2272"/>
            <ac:cxnSpMk id="11" creationId="{442A5D7C-0BB7-C36F-286D-6182EC1532D7}"/>
          </ac:cxnSpMkLst>
        </pc:cxnChg>
        <pc:cxnChg chg="del">
          <ac:chgData name="Timur Karimsakov" userId="ea04722c-9be7-49ff-9a17-c5a9c646d8a7" providerId="ADAL" clId="{7E85B5A2-01C0-4937-8FFC-40872C8371EE}" dt="2025-01-05T07:19:39.678" v="153" actId="478"/>
          <ac:cxnSpMkLst>
            <pc:docMk/>
            <pc:sldMk cId="1261594426" sldId="2272"/>
            <ac:cxnSpMk id="25" creationId="{C740CE04-ADF9-E0E8-EEC4-429525547EAD}"/>
          </ac:cxnSpMkLst>
        </pc:cxnChg>
        <pc:cxnChg chg="del">
          <ac:chgData name="Timur Karimsakov" userId="ea04722c-9be7-49ff-9a17-c5a9c646d8a7" providerId="ADAL" clId="{7E85B5A2-01C0-4937-8FFC-40872C8371EE}" dt="2025-01-05T07:19:39.678" v="153" actId="478"/>
          <ac:cxnSpMkLst>
            <pc:docMk/>
            <pc:sldMk cId="1261594426" sldId="2272"/>
            <ac:cxnSpMk id="26" creationId="{E50AF66E-15D2-7DA4-99FF-413915CEB84F}"/>
          </ac:cxnSpMkLst>
        </pc:cxnChg>
        <pc:cxnChg chg="del">
          <ac:chgData name="Timur Karimsakov" userId="ea04722c-9be7-49ff-9a17-c5a9c646d8a7" providerId="ADAL" clId="{7E85B5A2-01C0-4937-8FFC-40872C8371EE}" dt="2025-01-05T07:19:39.678" v="153" actId="478"/>
          <ac:cxnSpMkLst>
            <pc:docMk/>
            <pc:sldMk cId="1261594426" sldId="2272"/>
            <ac:cxnSpMk id="27" creationId="{B0C5A60C-6AF6-767B-9BF3-796B8E3FDE81}"/>
          </ac:cxnSpMkLst>
        </pc:cxnChg>
        <pc:cxnChg chg="del">
          <ac:chgData name="Timur Karimsakov" userId="ea04722c-9be7-49ff-9a17-c5a9c646d8a7" providerId="ADAL" clId="{7E85B5A2-01C0-4937-8FFC-40872C8371EE}" dt="2025-01-05T07:19:39.678" v="153" actId="478"/>
          <ac:cxnSpMkLst>
            <pc:docMk/>
            <pc:sldMk cId="1261594426" sldId="2272"/>
            <ac:cxnSpMk id="28" creationId="{3FBE953C-0362-4ED9-2A41-D6E8894067D6}"/>
          </ac:cxnSpMkLst>
        </pc:cxnChg>
      </pc:sldChg>
      <pc:sldChg chg="modSp mod">
        <pc:chgData name="Timur Karimsakov" userId="ea04722c-9be7-49ff-9a17-c5a9c646d8a7" providerId="ADAL" clId="{7E85B5A2-01C0-4937-8FFC-40872C8371EE}" dt="2025-01-05T10:19:17.477" v="1405" actId="20577"/>
        <pc:sldMkLst>
          <pc:docMk/>
          <pc:sldMk cId="4135786988" sldId="2275"/>
        </pc:sldMkLst>
        <pc:spChg chg="mod">
          <ac:chgData name="Timur Karimsakov" userId="ea04722c-9be7-49ff-9a17-c5a9c646d8a7" providerId="ADAL" clId="{7E85B5A2-01C0-4937-8FFC-40872C8371EE}" dt="2025-01-05T10:15:48.070" v="1244" actId="20577"/>
          <ac:spMkLst>
            <pc:docMk/>
            <pc:sldMk cId="4135786988" sldId="2275"/>
            <ac:spMk id="2" creationId="{BD2CB8FC-6BA7-8072-C621-DF5C7DA19DDD}"/>
          </ac:spMkLst>
        </pc:spChg>
        <pc:spChg chg="mod">
          <ac:chgData name="Timur Karimsakov" userId="ea04722c-9be7-49ff-9a17-c5a9c646d8a7" providerId="ADAL" clId="{7E85B5A2-01C0-4937-8FFC-40872C8371EE}" dt="2025-01-05T10:18:57.884" v="1387" actId="20577"/>
          <ac:spMkLst>
            <pc:docMk/>
            <pc:sldMk cId="4135786988" sldId="2275"/>
            <ac:spMk id="4" creationId="{235083C2-5757-7E48-3DD7-E82083F8F912}"/>
          </ac:spMkLst>
        </pc:spChg>
        <pc:spChg chg="mod">
          <ac:chgData name="Timur Karimsakov" userId="ea04722c-9be7-49ff-9a17-c5a9c646d8a7" providerId="ADAL" clId="{7E85B5A2-01C0-4937-8FFC-40872C8371EE}" dt="2025-01-05T10:18:46.356" v="1385" actId="1036"/>
          <ac:spMkLst>
            <pc:docMk/>
            <pc:sldMk cId="4135786988" sldId="2275"/>
            <ac:spMk id="7" creationId="{FA2B7AA0-84FC-A631-E83E-60EE4859D69D}"/>
          </ac:spMkLst>
        </pc:spChg>
        <pc:spChg chg="mod">
          <ac:chgData name="Timur Karimsakov" userId="ea04722c-9be7-49ff-9a17-c5a9c646d8a7" providerId="ADAL" clId="{7E85B5A2-01C0-4937-8FFC-40872C8371EE}" dt="2025-01-05T10:19:01.266" v="1389" actId="20577"/>
          <ac:spMkLst>
            <pc:docMk/>
            <pc:sldMk cId="4135786988" sldId="2275"/>
            <ac:spMk id="8" creationId="{5AFE7194-754A-139A-129B-C29D97705FDC}"/>
          </ac:spMkLst>
        </pc:spChg>
        <pc:spChg chg="mod">
          <ac:chgData name="Timur Karimsakov" userId="ea04722c-9be7-49ff-9a17-c5a9c646d8a7" providerId="ADAL" clId="{7E85B5A2-01C0-4937-8FFC-40872C8371EE}" dt="2025-01-05T10:19:17.477" v="1405" actId="20577"/>
          <ac:spMkLst>
            <pc:docMk/>
            <pc:sldMk cId="4135786988" sldId="2275"/>
            <ac:spMk id="11" creationId="{6F011FB5-53E4-FDC2-9DA5-A8B7BCFEBDC3}"/>
          </ac:spMkLst>
        </pc:spChg>
        <pc:spChg chg="mod">
          <ac:chgData name="Timur Karimsakov" userId="ea04722c-9be7-49ff-9a17-c5a9c646d8a7" providerId="ADAL" clId="{7E85B5A2-01C0-4937-8FFC-40872C8371EE}" dt="2025-01-05T10:19:11.161" v="1393" actId="20577"/>
          <ac:spMkLst>
            <pc:docMk/>
            <pc:sldMk cId="4135786988" sldId="2275"/>
            <ac:spMk id="23" creationId="{8C3CDE9E-035D-BFE2-205C-1E57970DE1EB}"/>
          </ac:spMkLst>
        </pc:spChg>
        <pc:spChg chg="mod">
          <ac:chgData name="Timur Karimsakov" userId="ea04722c-9be7-49ff-9a17-c5a9c646d8a7" providerId="ADAL" clId="{7E85B5A2-01C0-4937-8FFC-40872C8371EE}" dt="2025-01-05T10:17:16.932" v="1364" actId="1076"/>
          <ac:spMkLst>
            <pc:docMk/>
            <pc:sldMk cId="4135786988" sldId="2275"/>
            <ac:spMk id="24" creationId="{FFAFFEA8-1DF7-6FF3-BBB3-5C7EA0C9F237}"/>
          </ac:spMkLst>
        </pc:spChg>
        <pc:spChg chg="mod">
          <ac:chgData name="Timur Karimsakov" userId="ea04722c-9be7-49ff-9a17-c5a9c646d8a7" providerId="ADAL" clId="{7E85B5A2-01C0-4937-8FFC-40872C8371EE}" dt="2025-01-05T10:17:27.884" v="1368" actId="1036"/>
          <ac:spMkLst>
            <pc:docMk/>
            <pc:sldMk cId="4135786988" sldId="2275"/>
            <ac:spMk id="27" creationId="{52BC447A-6F39-66A3-FE03-5C4E6B746FC4}"/>
          </ac:spMkLst>
        </pc:spChg>
        <pc:spChg chg="mod">
          <ac:chgData name="Timur Karimsakov" userId="ea04722c-9be7-49ff-9a17-c5a9c646d8a7" providerId="ADAL" clId="{7E85B5A2-01C0-4937-8FFC-40872C8371EE}" dt="2025-01-05T10:17:31.375" v="1371" actId="1035"/>
          <ac:spMkLst>
            <pc:docMk/>
            <pc:sldMk cId="4135786988" sldId="2275"/>
            <ac:spMk id="29" creationId="{0D44198A-15FA-6196-A1B4-4A48106931E3}"/>
          </ac:spMkLst>
        </pc:spChg>
        <pc:cxnChg chg="mod">
          <ac:chgData name="Timur Karimsakov" userId="ea04722c-9be7-49ff-9a17-c5a9c646d8a7" providerId="ADAL" clId="{7E85B5A2-01C0-4937-8FFC-40872C8371EE}" dt="2025-01-05T10:17:34.523" v="1377" actId="1035"/>
          <ac:cxnSpMkLst>
            <pc:docMk/>
            <pc:sldMk cId="4135786988" sldId="2275"/>
            <ac:cxnSpMk id="12" creationId="{F25F9A3C-A6AC-7B2C-A7C3-15F9DC24E247}"/>
          </ac:cxnSpMkLst>
        </pc:cxnChg>
      </pc:sldChg>
      <pc:sldChg chg="addSp delSp modSp mod">
        <pc:chgData name="Timur Karimsakov" userId="ea04722c-9be7-49ff-9a17-c5a9c646d8a7" providerId="ADAL" clId="{7E85B5A2-01C0-4937-8FFC-40872C8371EE}" dt="2025-01-05T10:14:36.876" v="1232" actId="20577"/>
        <pc:sldMkLst>
          <pc:docMk/>
          <pc:sldMk cId="3793422932" sldId="2276"/>
        </pc:sldMkLst>
        <pc:spChg chg="mod">
          <ac:chgData name="Timur Karimsakov" userId="ea04722c-9be7-49ff-9a17-c5a9c646d8a7" providerId="ADAL" clId="{7E85B5A2-01C0-4937-8FFC-40872C8371EE}" dt="2025-01-05T10:13:44.191" v="1016" actId="1037"/>
          <ac:spMkLst>
            <pc:docMk/>
            <pc:sldMk cId="3793422932" sldId="2276"/>
            <ac:spMk id="3" creationId="{888802F1-4D29-D1FD-5812-5C9DD0CEE6BC}"/>
          </ac:spMkLst>
        </pc:spChg>
        <pc:spChg chg="mod">
          <ac:chgData name="Timur Karimsakov" userId="ea04722c-9be7-49ff-9a17-c5a9c646d8a7" providerId="ADAL" clId="{7E85B5A2-01C0-4937-8FFC-40872C8371EE}" dt="2025-01-05T10:13:47.621" v="1024" actId="1038"/>
          <ac:spMkLst>
            <pc:docMk/>
            <pc:sldMk cId="3793422932" sldId="2276"/>
            <ac:spMk id="4" creationId="{62FF2EF0-F697-5D2E-57A8-8E2C9493A7A0}"/>
          </ac:spMkLst>
        </pc:spChg>
        <pc:spChg chg="mod">
          <ac:chgData name="Timur Karimsakov" userId="ea04722c-9be7-49ff-9a17-c5a9c646d8a7" providerId="ADAL" clId="{7E85B5A2-01C0-4937-8FFC-40872C8371EE}" dt="2025-01-05T10:13:52.852" v="1039" actId="1037"/>
          <ac:spMkLst>
            <pc:docMk/>
            <pc:sldMk cId="3793422932" sldId="2276"/>
            <ac:spMk id="5" creationId="{B6DB1768-14BD-2972-DB10-B8F29D767264}"/>
          </ac:spMkLst>
        </pc:spChg>
        <pc:spChg chg="mod">
          <ac:chgData name="Timur Karimsakov" userId="ea04722c-9be7-49ff-9a17-c5a9c646d8a7" providerId="ADAL" clId="{7E85B5A2-01C0-4937-8FFC-40872C8371EE}" dt="2025-01-05T10:13:59.607" v="1059" actId="1037"/>
          <ac:spMkLst>
            <pc:docMk/>
            <pc:sldMk cId="3793422932" sldId="2276"/>
            <ac:spMk id="6" creationId="{899F54F9-1B42-66C9-AE35-1B4623223629}"/>
          </ac:spMkLst>
        </pc:spChg>
        <pc:spChg chg="mod">
          <ac:chgData name="Timur Karimsakov" userId="ea04722c-9be7-49ff-9a17-c5a9c646d8a7" providerId="ADAL" clId="{7E85B5A2-01C0-4937-8FFC-40872C8371EE}" dt="2025-01-05T10:14:03.758" v="1074" actId="1037"/>
          <ac:spMkLst>
            <pc:docMk/>
            <pc:sldMk cId="3793422932" sldId="2276"/>
            <ac:spMk id="8" creationId="{126E1A67-E1E0-62CB-A9EB-7C4803F25117}"/>
          </ac:spMkLst>
        </pc:spChg>
        <pc:spChg chg="mod">
          <ac:chgData name="Timur Karimsakov" userId="ea04722c-9be7-49ff-9a17-c5a9c646d8a7" providerId="ADAL" clId="{7E85B5A2-01C0-4937-8FFC-40872C8371EE}" dt="2025-01-05T10:14:07.152" v="1092" actId="1037"/>
          <ac:spMkLst>
            <pc:docMk/>
            <pc:sldMk cId="3793422932" sldId="2276"/>
            <ac:spMk id="9" creationId="{AD263EB9-0494-65EB-9E6A-4961029213C2}"/>
          </ac:spMkLst>
        </pc:spChg>
        <pc:spChg chg="mod">
          <ac:chgData name="Timur Karimsakov" userId="ea04722c-9be7-49ff-9a17-c5a9c646d8a7" providerId="ADAL" clId="{7E85B5A2-01C0-4937-8FFC-40872C8371EE}" dt="2025-01-05T10:14:11.202" v="1114" actId="1037"/>
          <ac:spMkLst>
            <pc:docMk/>
            <pc:sldMk cId="3793422932" sldId="2276"/>
            <ac:spMk id="10" creationId="{637AF3A0-16E2-CC60-7C9D-A78FEC0D02CD}"/>
          </ac:spMkLst>
        </pc:spChg>
        <pc:spChg chg="mod">
          <ac:chgData name="Timur Karimsakov" userId="ea04722c-9be7-49ff-9a17-c5a9c646d8a7" providerId="ADAL" clId="{7E85B5A2-01C0-4937-8FFC-40872C8371EE}" dt="2025-01-05T10:14:15.128" v="1139" actId="1037"/>
          <ac:spMkLst>
            <pc:docMk/>
            <pc:sldMk cId="3793422932" sldId="2276"/>
            <ac:spMk id="11" creationId="{C9D893B4-C0EB-2EF8-9559-ED908E6843E4}"/>
          </ac:spMkLst>
        </pc:spChg>
        <pc:spChg chg="mod">
          <ac:chgData name="Timur Karimsakov" userId="ea04722c-9be7-49ff-9a17-c5a9c646d8a7" providerId="ADAL" clId="{7E85B5A2-01C0-4937-8FFC-40872C8371EE}" dt="2025-01-05T10:14:20.845" v="1172" actId="1037"/>
          <ac:spMkLst>
            <pc:docMk/>
            <pc:sldMk cId="3793422932" sldId="2276"/>
            <ac:spMk id="12" creationId="{ACB8484D-567C-2343-A44F-E5AE035787CC}"/>
          </ac:spMkLst>
        </pc:spChg>
        <pc:spChg chg="mod">
          <ac:chgData name="Timur Karimsakov" userId="ea04722c-9be7-49ff-9a17-c5a9c646d8a7" providerId="ADAL" clId="{7E85B5A2-01C0-4937-8FFC-40872C8371EE}" dt="2025-01-05T10:14:24.551" v="1202" actId="1037"/>
          <ac:spMkLst>
            <pc:docMk/>
            <pc:sldMk cId="3793422932" sldId="2276"/>
            <ac:spMk id="14" creationId="{BDB19851-0D9A-60ED-8E00-2CD02A6D1713}"/>
          </ac:spMkLst>
        </pc:spChg>
        <pc:spChg chg="mod">
          <ac:chgData name="Timur Karimsakov" userId="ea04722c-9be7-49ff-9a17-c5a9c646d8a7" providerId="ADAL" clId="{7E85B5A2-01C0-4937-8FFC-40872C8371EE}" dt="2025-01-05T10:14:27.986" v="1224" actId="1037"/>
          <ac:spMkLst>
            <pc:docMk/>
            <pc:sldMk cId="3793422932" sldId="2276"/>
            <ac:spMk id="15" creationId="{ED3AEA65-5553-6543-0D8F-CFD2EACA4FA9}"/>
          </ac:spMkLst>
        </pc:spChg>
        <pc:spChg chg="add mod">
          <ac:chgData name="Timur Karimsakov" userId="ea04722c-9be7-49ff-9a17-c5a9c646d8a7" providerId="ADAL" clId="{7E85B5A2-01C0-4937-8FFC-40872C8371EE}" dt="2025-01-05T10:14:36.876" v="1232" actId="20577"/>
          <ac:spMkLst>
            <pc:docMk/>
            <pc:sldMk cId="3793422932" sldId="2276"/>
            <ac:spMk id="19" creationId="{236C659C-9BB8-0B8A-555F-6A9C60F5028D}"/>
          </ac:spMkLst>
        </pc:spChg>
        <pc:graphicFrameChg chg="del">
          <ac:chgData name="Timur Karimsakov" userId="ea04722c-9be7-49ff-9a17-c5a9c646d8a7" providerId="ADAL" clId="{7E85B5A2-01C0-4937-8FFC-40872C8371EE}" dt="2025-01-05T10:13:26.682" v="1008" actId="478"/>
          <ac:graphicFrameMkLst>
            <pc:docMk/>
            <pc:sldMk cId="3793422932" sldId="2276"/>
            <ac:graphicFrameMk id="2" creationId="{1785969E-D23C-50A1-3274-A0B0F66E1091}"/>
          </ac:graphicFrameMkLst>
        </pc:graphicFrameChg>
        <pc:graphicFrameChg chg="add mod">
          <ac:chgData name="Timur Karimsakov" userId="ea04722c-9be7-49ff-9a17-c5a9c646d8a7" providerId="ADAL" clId="{7E85B5A2-01C0-4937-8FFC-40872C8371EE}" dt="2025-01-05T10:13:27.299" v="1009"/>
          <ac:graphicFrameMkLst>
            <pc:docMk/>
            <pc:sldMk cId="3793422932" sldId="2276"/>
            <ac:graphicFrameMk id="17" creationId="{172CC060-D0E7-D081-9DD8-E9371280F3FD}"/>
          </ac:graphicFrameMkLst>
        </pc:graphicFrameChg>
        <pc:graphicFrameChg chg="add mod">
          <ac:chgData name="Timur Karimsakov" userId="ea04722c-9be7-49ff-9a17-c5a9c646d8a7" providerId="ADAL" clId="{7E85B5A2-01C0-4937-8FFC-40872C8371EE}" dt="2025-01-05T10:13:37.342" v="1011" actId="167"/>
          <ac:graphicFrameMkLst>
            <pc:docMk/>
            <pc:sldMk cId="3793422932" sldId="2276"/>
            <ac:graphicFrameMk id="18" creationId="{7B667DB8-D35A-F5AE-6F7D-28574DDCB668}"/>
          </ac:graphicFrameMkLst>
        </pc:graphicFrameChg>
      </pc:sldChg>
      <pc:sldChg chg="modSp mod">
        <pc:chgData name="Timur Karimsakov" userId="ea04722c-9be7-49ff-9a17-c5a9c646d8a7" providerId="ADAL" clId="{7E85B5A2-01C0-4937-8FFC-40872C8371EE}" dt="2025-01-05T07:18:24.913" v="123" actId="1036"/>
        <pc:sldMkLst>
          <pc:docMk/>
          <pc:sldMk cId="2278701123" sldId="2277"/>
        </pc:sldMkLst>
        <pc:spChg chg="mod">
          <ac:chgData name="Timur Karimsakov" userId="ea04722c-9be7-49ff-9a17-c5a9c646d8a7" providerId="ADAL" clId="{7E85B5A2-01C0-4937-8FFC-40872C8371EE}" dt="2025-01-05T07:16:47.345" v="29" actId="20577"/>
          <ac:spMkLst>
            <pc:docMk/>
            <pc:sldMk cId="2278701123" sldId="2277"/>
            <ac:spMk id="13" creationId="{4B231C19-6581-F296-4C38-7C9083947714}"/>
          </ac:spMkLst>
        </pc:spChg>
        <pc:spChg chg="mod">
          <ac:chgData name="Timur Karimsakov" userId="ea04722c-9be7-49ff-9a17-c5a9c646d8a7" providerId="ADAL" clId="{7E85B5A2-01C0-4937-8FFC-40872C8371EE}" dt="2025-01-05T07:18:15.165" v="92" actId="1036"/>
          <ac:spMkLst>
            <pc:docMk/>
            <pc:sldMk cId="2278701123" sldId="2277"/>
            <ac:spMk id="18" creationId="{21CF1E7F-60B0-9567-58C0-1F6E6E97154F}"/>
          </ac:spMkLst>
        </pc:spChg>
        <pc:spChg chg="mod">
          <ac:chgData name="Timur Karimsakov" userId="ea04722c-9be7-49ff-9a17-c5a9c646d8a7" providerId="ADAL" clId="{7E85B5A2-01C0-4937-8FFC-40872C8371EE}" dt="2025-01-05T07:18:18.952" v="104" actId="1035"/>
          <ac:spMkLst>
            <pc:docMk/>
            <pc:sldMk cId="2278701123" sldId="2277"/>
            <ac:spMk id="19" creationId="{691CB1FF-F824-C06C-847C-D41370F8E7F2}"/>
          </ac:spMkLst>
        </pc:spChg>
        <pc:spChg chg="mod">
          <ac:chgData name="Timur Karimsakov" userId="ea04722c-9be7-49ff-9a17-c5a9c646d8a7" providerId="ADAL" clId="{7E85B5A2-01C0-4937-8FFC-40872C8371EE}" dt="2025-01-05T07:18:20.228" v="111" actId="1036"/>
          <ac:spMkLst>
            <pc:docMk/>
            <pc:sldMk cId="2278701123" sldId="2277"/>
            <ac:spMk id="23" creationId="{D350D8B1-7A0D-4661-75CE-0CAC4A43DF6A}"/>
          </ac:spMkLst>
        </pc:spChg>
        <pc:spChg chg="mod">
          <ac:chgData name="Timur Karimsakov" userId="ea04722c-9be7-49ff-9a17-c5a9c646d8a7" providerId="ADAL" clId="{7E85B5A2-01C0-4937-8FFC-40872C8371EE}" dt="2025-01-05T07:18:22.680" v="119" actId="1035"/>
          <ac:spMkLst>
            <pc:docMk/>
            <pc:sldMk cId="2278701123" sldId="2277"/>
            <ac:spMk id="24" creationId="{0279029F-A1AA-B3D6-CE2B-6F492AFA322C}"/>
          </ac:spMkLst>
        </pc:spChg>
        <pc:spChg chg="mod">
          <ac:chgData name="Timur Karimsakov" userId="ea04722c-9be7-49ff-9a17-c5a9c646d8a7" providerId="ADAL" clId="{7E85B5A2-01C0-4937-8FFC-40872C8371EE}" dt="2025-01-05T07:18:24.913" v="123" actId="1036"/>
          <ac:spMkLst>
            <pc:docMk/>
            <pc:sldMk cId="2278701123" sldId="2277"/>
            <ac:spMk id="25" creationId="{AA3910BA-E316-1ED7-902D-AB4F7F0DC8E4}"/>
          </ac:spMkLst>
        </pc:spChg>
        <pc:spChg chg="mod">
          <ac:chgData name="Timur Karimsakov" userId="ea04722c-9be7-49ff-9a17-c5a9c646d8a7" providerId="ADAL" clId="{7E85B5A2-01C0-4937-8FFC-40872C8371EE}" dt="2025-01-05T07:17:25.593" v="78" actId="20577"/>
          <ac:spMkLst>
            <pc:docMk/>
            <pc:sldMk cId="2278701123" sldId="2277"/>
            <ac:spMk id="36" creationId="{03560DEE-38F3-4857-D339-93070E0C0A9F}"/>
          </ac:spMkLst>
        </pc:spChg>
        <pc:spChg chg="mod">
          <ac:chgData name="Timur Karimsakov" userId="ea04722c-9be7-49ff-9a17-c5a9c646d8a7" providerId="ADAL" clId="{7E85B5A2-01C0-4937-8FFC-40872C8371EE}" dt="2025-01-05T07:17:23.484" v="74" actId="20577"/>
          <ac:spMkLst>
            <pc:docMk/>
            <pc:sldMk cId="2278701123" sldId="2277"/>
            <ac:spMk id="68" creationId="{2ECA0113-5FE2-F5DA-CE28-D2A789698078}"/>
          </ac:spMkLst>
        </pc:spChg>
      </pc:sldChg>
    </pc:docChg>
  </pc:docChgLst>
  <pc:docChgLst>
    <pc:chgData name="Timur Karimsakov" userId="S::t.karimsakov@aifc.kz::ea04722c-9be7-49ff-9a17-c5a9c646d8a7" providerId="AD" clId="Web-{D98C1926-B611-57B4-4B0C-DA3B988B3C79}"/>
    <pc:docChg chg="modSld">
      <pc:chgData name="Timur Karimsakov" userId="S::t.karimsakov@aifc.kz::ea04722c-9be7-49ff-9a17-c5a9c646d8a7" providerId="AD" clId="Web-{D98C1926-B611-57B4-4B0C-DA3B988B3C79}" dt="2024-05-22T07:04:22.270" v="11" actId="20577"/>
      <pc:docMkLst>
        <pc:docMk/>
      </pc:docMkLst>
      <pc:sldChg chg="modSp">
        <pc:chgData name="Timur Karimsakov" userId="S::t.karimsakov@aifc.kz::ea04722c-9be7-49ff-9a17-c5a9c646d8a7" providerId="AD" clId="Web-{D98C1926-B611-57B4-4B0C-DA3B988B3C79}" dt="2024-05-22T07:04:04.957" v="8" actId="20577"/>
        <pc:sldMkLst>
          <pc:docMk/>
          <pc:sldMk cId="4078718328" sldId="2184"/>
        </pc:sldMkLst>
        <pc:spChg chg="mod">
          <ac:chgData name="Timur Karimsakov" userId="S::t.karimsakov@aifc.kz::ea04722c-9be7-49ff-9a17-c5a9c646d8a7" providerId="AD" clId="Web-{D98C1926-B611-57B4-4B0C-DA3B988B3C79}" dt="2024-05-22T07:04:04.957" v="8" actId="20577"/>
          <ac:spMkLst>
            <pc:docMk/>
            <pc:sldMk cId="4078718328" sldId="2184"/>
            <ac:spMk id="8" creationId="{85697E62-4051-88FC-C94D-84493D08BE8E}"/>
          </ac:spMkLst>
        </pc:spChg>
      </pc:sldChg>
      <pc:sldChg chg="modSp">
        <pc:chgData name="Timur Karimsakov" userId="S::t.karimsakov@aifc.kz::ea04722c-9be7-49ff-9a17-c5a9c646d8a7" providerId="AD" clId="Web-{D98C1926-B611-57B4-4B0C-DA3B988B3C79}" dt="2024-05-22T07:04:22.270" v="11" actId="20577"/>
        <pc:sldMkLst>
          <pc:docMk/>
          <pc:sldMk cId="2298565077" sldId="2186"/>
        </pc:sldMkLst>
        <pc:spChg chg="mod">
          <ac:chgData name="Timur Karimsakov" userId="S::t.karimsakov@aifc.kz::ea04722c-9be7-49ff-9a17-c5a9c646d8a7" providerId="AD" clId="Web-{D98C1926-B611-57B4-4B0C-DA3B988B3C79}" dt="2024-05-22T07:04:22.270" v="11" actId="20577"/>
          <ac:spMkLst>
            <pc:docMk/>
            <pc:sldMk cId="2298565077" sldId="2186"/>
            <ac:spMk id="8" creationId="{85697E62-4051-88FC-C94D-84493D08BE8E}"/>
          </ac:spMkLst>
        </pc:spChg>
      </pc:sldChg>
      <pc:sldChg chg="modSp">
        <pc:chgData name="Timur Karimsakov" userId="S::t.karimsakov@aifc.kz::ea04722c-9be7-49ff-9a17-c5a9c646d8a7" providerId="AD" clId="Web-{D98C1926-B611-57B4-4B0C-DA3B988B3C79}" dt="2024-05-22T07:03:32.362" v="6" actId="20577"/>
        <pc:sldMkLst>
          <pc:docMk/>
          <pc:sldMk cId="2566058658" sldId="2262"/>
        </pc:sldMkLst>
        <pc:spChg chg="mod">
          <ac:chgData name="Timur Karimsakov" userId="S::t.karimsakov@aifc.kz::ea04722c-9be7-49ff-9a17-c5a9c646d8a7" providerId="AD" clId="Web-{D98C1926-B611-57B4-4B0C-DA3B988B3C79}" dt="2024-05-22T07:03:32.362" v="6" actId="20577"/>
          <ac:spMkLst>
            <pc:docMk/>
            <pc:sldMk cId="2566058658" sldId="2262"/>
            <ac:spMk id="26" creationId="{47D5E6D4-BFD4-AF58-0351-F6F523258D8D}"/>
          </ac:spMkLst>
        </pc:spChg>
      </pc:sldChg>
      <pc:sldChg chg="modSp">
        <pc:chgData name="Timur Karimsakov" userId="S::t.karimsakov@aifc.kz::ea04722c-9be7-49ff-9a17-c5a9c646d8a7" providerId="AD" clId="Web-{D98C1926-B611-57B4-4B0C-DA3B988B3C79}" dt="2024-05-22T07:02:58.330" v="0" actId="20577"/>
        <pc:sldMkLst>
          <pc:docMk/>
          <pc:sldMk cId="2234924895" sldId="2267"/>
        </pc:sldMkLst>
        <pc:spChg chg="mod">
          <ac:chgData name="Timur Karimsakov" userId="S::t.karimsakov@aifc.kz::ea04722c-9be7-49ff-9a17-c5a9c646d8a7" providerId="AD" clId="Web-{D98C1926-B611-57B4-4B0C-DA3B988B3C79}" dt="2024-05-22T07:02:58.330" v="0" actId="20577"/>
          <ac:spMkLst>
            <pc:docMk/>
            <pc:sldMk cId="2234924895" sldId="2267"/>
            <ac:spMk id="68" creationId="{2ECA0113-5FE2-F5DA-CE28-D2A789698078}"/>
          </ac:spMkLst>
        </pc:spChg>
      </pc:sldChg>
      <pc:sldChg chg="modSp">
        <pc:chgData name="Timur Karimsakov" userId="S::t.karimsakov@aifc.kz::ea04722c-9be7-49ff-9a17-c5a9c646d8a7" providerId="AD" clId="Web-{D98C1926-B611-57B4-4B0C-DA3B988B3C79}" dt="2024-05-22T07:03:24.131" v="2" actId="20577"/>
        <pc:sldMkLst>
          <pc:docMk/>
          <pc:sldMk cId="3764251038" sldId="2268"/>
        </pc:sldMkLst>
        <pc:spChg chg="mod">
          <ac:chgData name="Timur Karimsakov" userId="S::t.karimsakov@aifc.kz::ea04722c-9be7-49ff-9a17-c5a9c646d8a7" providerId="AD" clId="Web-{D98C1926-B611-57B4-4B0C-DA3B988B3C79}" dt="2024-05-22T07:03:24.131" v="2" actId="20577"/>
          <ac:spMkLst>
            <pc:docMk/>
            <pc:sldMk cId="3764251038" sldId="2268"/>
            <ac:spMk id="8" creationId="{85697E62-4051-88FC-C94D-84493D08BE8E}"/>
          </ac:spMkLst>
        </pc:spChg>
      </pc:sldChg>
    </pc:docChg>
  </pc:docChgLst>
  <pc:docChgLst>
    <pc:chgData name="Timur Karimsakov" userId="ea04722c-9be7-49ff-9a17-c5a9c646d8a7" providerId="ADAL" clId="{C783E917-3562-44AD-927C-A1EB692F5783}"/>
    <pc:docChg chg="delSld modSld">
      <pc:chgData name="Timur Karimsakov" userId="ea04722c-9be7-49ff-9a17-c5a9c646d8a7" providerId="ADAL" clId="{C783E917-3562-44AD-927C-A1EB692F5783}" dt="2024-09-18T06:22:23.533" v="53" actId="1076"/>
      <pc:docMkLst>
        <pc:docMk/>
      </pc:docMkLst>
      <pc:sldChg chg="del">
        <pc:chgData name="Timur Karimsakov" userId="ea04722c-9be7-49ff-9a17-c5a9c646d8a7" providerId="ADAL" clId="{C783E917-3562-44AD-927C-A1EB692F5783}" dt="2024-09-18T06:20:19.180" v="27" actId="47"/>
        <pc:sldMkLst>
          <pc:docMk/>
          <pc:sldMk cId="515681888" sldId="2270"/>
        </pc:sldMkLst>
      </pc:sldChg>
      <pc:sldChg chg="addSp modSp mod">
        <pc:chgData name="Timur Karimsakov" userId="ea04722c-9be7-49ff-9a17-c5a9c646d8a7" providerId="ADAL" clId="{C783E917-3562-44AD-927C-A1EB692F5783}" dt="2024-09-18T06:22:23.533" v="53" actId="1076"/>
        <pc:sldMkLst>
          <pc:docMk/>
          <pc:sldMk cId="3326975222" sldId="2273"/>
        </pc:sldMkLst>
        <pc:spChg chg="mod">
          <ac:chgData name="Timur Karimsakov" userId="ea04722c-9be7-49ff-9a17-c5a9c646d8a7" providerId="ADAL" clId="{C783E917-3562-44AD-927C-A1EB692F5783}" dt="2024-09-18T06:22:06.914" v="42" actId="1076"/>
          <ac:spMkLst>
            <pc:docMk/>
            <pc:sldMk cId="3326975222" sldId="2273"/>
            <ac:spMk id="2" creationId="{E2ACA897-1275-1B3F-DF54-A2652605BB86}"/>
          </ac:spMkLst>
        </pc:spChg>
        <pc:spChg chg="mod">
          <ac:chgData name="Timur Karimsakov" userId="ea04722c-9be7-49ff-9a17-c5a9c646d8a7" providerId="ADAL" clId="{C783E917-3562-44AD-927C-A1EB692F5783}" dt="2024-09-18T06:21:25.747" v="34" actId="1076"/>
          <ac:spMkLst>
            <pc:docMk/>
            <pc:sldMk cId="3326975222" sldId="2273"/>
            <ac:spMk id="5" creationId="{3BDF9FDE-14C0-A91A-67D7-21196681CF6B}"/>
          </ac:spMkLst>
        </pc:spChg>
        <pc:spChg chg="mod">
          <ac:chgData name="Timur Karimsakov" userId="ea04722c-9be7-49ff-9a17-c5a9c646d8a7" providerId="ADAL" clId="{C783E917-3562-44AD-927C-A1EB692F5783}" dt="2024-09-18T06:21:29.139" v="35" actId="1076"/>
          <ac:spMkLst>
            <pc:docMk/>
            <pc:sldMk cId="3326975222" sldId="2273"/>
            <ac:spMk id="6" creationId="{0D248B02-CFFF-7BB0-5656-0E815B09FD4F}"/>
          </ac:spMkLst>
        </pc:spChg>
        <pc:spChg chg="mod">
          <ac:chgData name="Timur Karimsakov" userId="ea04722c-9be7-49ff-9a17-c5a9c646d8a7" providerId="ADAL" clId="{C783E917-3562-44AD-927C-A1EB692F5783}" dt="2024-09-18T06:21:42.778" v="37" actId="1076"/>
          <ac:spMkLst>
            <pc:docMk/>
            <pc:sldMk cId="3326975222" sldId="2273"/>
            <ac:spMk id="8" creationId="{5FB2B10B-8A3F-07EF-CD24-F24A59442658}"/>
          </ac:spMkLst>
        </pc:spChg>
        <pc:spChg chg="mod">
          <ac:chgData name="Timur Karimsakov" userId="ea04722c-9be7-49ff-9a17-c5a9c646d8a7" providerId="ADAL" clId="{C783E917-3562-44AD-927C-A1EB692F5783}" dt="2024-09-18T06:21:47.132" v="38" actId="1076"/>
          <ac:spMkLst>
            <pc:docMk/>
            <pc:sldMk cId="3326975222" sldId="2273"/>
            <ac:spMk id="9" creationId="{96D9F33A-C69C-2110-4CA9-14C69704658E}"/>
          </ac:spMkLst>
        </pc:spChg>
        <pc:spChg chg="mod">
          <ac:chgData name="Timur Karimsakov" userId="ea04722c-9be7-49ff-9a17-c5a9c646d8a7" providerId="ADAL" clId="{C783E917-3562-44AD-927C-A1EB692F5783}" dt="2024-09-18T06:21:51.459" v="39" actId="1076"/>
          <ac:spMkLst>
            <pc:docMk/>
            <pc:sldMk cId="3326975222" sldId="2273"/>
            <ac:spMk id="10" creationId="{7B7FEB6E-BF99-6FFE-48E8-4BEA45172F29}"/>
          </ac:spMkLst>
        </pc:spChg>
        <pc:spChg chg="mod">
          <ac:chgData name="Timur Karimsakov" userId="ea04722c-9be7-49ff-9a17-c5a9c646d8a7" providerId="ADAL" clId="{C783E917-3562-44AD-927C-A1EB692F5783}" dt="2024-09-18T06:21:57.471" v="40" actId="1076"/>
          <ac:spMkLst>
            <pc:docMk/>
            <pc:sldMk cId="3326975222" sldId="2273"/>
            <ac:spMk id="11" creationId="{C6965CAC-3C8D-76FC-5C2F-18761BFD6020}"/>
          </ac:spMkLst>
        </pc:spChg>
        <pc:spChg chg="mod">
          <ac:chgData name="Timur Karimsakov" userId="ea04722c-9be7-49ff-9a17-c5a9c646d8a7" providerId="ADAL" clId="{C783E917-3562-44AD-927C-A1EB692F5783}" dt="2024-09-18T06:22:02.459" v="41" actId="1076"/>
          <ac:spMkLst>
            <pc:docMk/>
            <pc:sldMk cId="3326975222" sldId="2273"/>
            <ac:spMk id="12" creationId="{868B19A3-723C-AE75-B4A7-2A827336010B}"/>
          </ac:spMkLst>
        </pc:spChg>
        <pc:spChg chg="add mod">
          <ac:chgData name="Timur Karimsakov" userId="ea04722c-9be7-49ff-9a17-c5a9c646d8a7" providerId="ADAL" clId="{C783E917-3562-44AD-927C-A1EB692F5783}" dt="2024-09-18T06:22:23.533" v="53" actId="1076"/>
          <ac:spMkLst>
            <pc:docMk/>
            <pc:sldMk cId="3326975222" sldId="2273"/>
            <ac:spMk id="17" creationId="{FC2CB204-CC44-BC05-10A7-360397BECB50}"/>
          </ac:spMkLst>
        </pc:spChg>
        <pc:spChg chg="mod">
          <ac:chgData name="Timur Karimsakov" userId="ea04722c-9be7-49ff-9a17-c5a9c646d8a7" providerId="ADAL" clId="{C783E917-3562-44AD-927C-A1EB692F5783}" dt="2024-09-18T06:19:06.458" v="9" actId="13926"/>
          <ac:spMkLst>
            <pc:docMk/>
            <pc:sldMk cId="3326975222" sldId="2273"/>
            <ac:spMk id="37" creationId="{E26DD868-52B5-B510-37AD-15634F3D01D1}"/>
          </ac:spMkLst>
        </pc:spChg>
        <pc:graphicFrameChg chg="mod">
          <ac:chgData name="Timur Karimsakov" userId="ea04722c-9be7-49ff-9a17-c5a9c646d8a7" providerId="ADAL" clId="{C783E917-3562-44AD-927C-A1EB692F5783}" dt="2024-09-18T06:21:12.921" v="33"/>
          <ac:graphicFrameMkLst>
            <pc:docMk/>
            <pc:sldMk cId="3326975222" sldId="2273"/>
            <ac:graphicFrameMk id="19" creationId="{ABD5945D-94C7-4909-93DB-B1A607DDE416}"/>
          </ac:graphicFrameMkLst>
        </pc:graphicFrameChg>
      </pc:sldChg>
      <pc:sldChg chg="modSp mod">
        <pc:chgData name="Timur Karimsakov" userId="ea04722c-9be7-49ff-9a17-c5a9c646d8a7" providerId="ADAL" clId="{C783E917-3562-44AD-927C-A1EB692F5783}" dt="2024-09-18T06:19:56.266" v="26" actId="20577"/>
        <pc:sldMkLst>
          <pc:docMk/>
          <pc:sldMk cId="4135786988" sldId="2275"/>
        </pc:sldMkLst>
        <pc:spChg chg="mod">
          <ac:chgData name="Timur Karimsakov" userId="ea04722c-9be7-49ff-9a17-c5a9c646d8a7" providerId="ADAL" clId="{C783E917-3562-44AD-927C-A1EB692F5783}" dt="2024-09-18T06:19:56.266" v="26" actId="20577"/>
          <ac:spMkLst>
            <pc:docMk/>
            <pc:sldMk cId="4135786988" sldId="2275"/>
            <ac:spMk id="4" creationId="{235083C2-5757-7E48-3DD7-E82083F8F912}"/>
          </ac:spMkLst>
        </pc:spChg>
      </pc:sldChg>
    </pc:docChg>
  </pc:docChgLst>
  <pc:docChgLst>
    <pc:chgData name="Aiym Zhakhina" userId="dd9b80cd-27cd-4a57-a758-ff3f453d87f9" providerId="ADAL" clId="{DEAD9170-E27A-4B4A-B97C-4F8D6C251BB5}"/>
    <pc:docChg chg="modSld">
      <pc:chgData name="Aiym Zhakhina" userId="dd9b80cd-27cd-4a57-a758-ff3f453d87f9" providerId="ADAL" clId="{DEAD9170-E27A-4B4A-B97C-4F8D6C251BB5}" dt="2024-07-19T09:28:05.911" v="150" actId="27918"/>
      <pc:docMkLst>
        <pc:docMk/>
      </pc:docMkLst>
      <pc:sldChg chg="modSp mod">
        <pc:chgData name="Aiym Zhakhina" userId="dd9b80cd-27cd-4a57-a758-ff3f453d87f9" providerId="ADAL" clId="{DEAD9170-E27A-4B4A-B97C-4F8D6C251BB5}" dt="2024-07-19T09:28:05.911" v="150" actId="27918"/>
        <pc:sldMkLst>
          <pc:docMk/>
          <pc:sldMk cId="2298565077" sldId="2186"/>
        </pc:sldMkLst>
        <pc:spChg chg="mod">
          <ac:chgData name="Aiym Zhakhina" userId="dd9b80cd-27cd-4a57-a758-ff3f453d87f9" providerId="ADAL" clId="{DEAD9170-E27A-4B4A-B97C-4F8D6C251BB5}" dt="2024-07-19T09:26:54.324" v="140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Aiym Zhakhina" userId="dd9b80cd-27cd-4a57-a758-ff3f453d87f9" providerId="ADAL" clId="{DEAD9170-E27A-4B4A-B97C-4F8D6C251BB5}" dt="2024-07-19T09:27:21.953" v="144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modSp mod">
        <pc:chgData name="Aiym Zhakhina" userId="dd9b80cd-27cd-4a57-a758-ff3f453d87f9" providerId="ADAL" clId="{DEAD9170-E27A-4B4A-B97C-4F8D6C251BB5}" dt="2024-07-19T09:23:51.845" v="70" actId="20577"/>
        <pc:sldMkLst>
          <pc:docMk/>
          <pc:sldMk cId="1727869833" sldId="2187"/>
        </pc:sldMkLst>
        <pc:spChg chg="mod">
          <ac:chgData name="Aiym Zhakhina" userId="dd9b80cd-27cd-4a57-a758-ff3f453d87f9" providerId="ADAL" clId="{DEAD9170-E27A-4B4A-B97C-4F8D6C251BB5}" dt="2024-07-19T09:23:51.845" v="70" actId="20577"/>
          <ac:spMkLst>
            <pc:docMk/>
            <pc:sldMk cId="1727869833" sldId="2187"/>
            <ac:spMk id="8" creationId="{85697E62-4051-88FC-C94D-84493D08BE8E}"/>
          </ac:spMkLst>
        </pc:spChg>
      </pc:sldChg>
      <pc:sldChg chg="modSp mod">
        <pc:chgData name="Aiym Zhakhina" userId="dd9b80cd-27cd-4a57-a758-ff3f453d87f9" providerId="ADAL" clId="{DEAD9170-E27A-4B4A-B97C-4F8D6C251BB5}" dt="2024-07-19T09:20:00.926" v="67" actId="27918"/>
        <pc:sldMkLst>
          <pc:docMk/>
          <pc:sldMk cId="2566058658" sldId="2262"/>
        </pc:sldMkLst>
        <pc:spChg chg="mod">
          <ac:chgData name="Aiym Zhakhina" userId="dd9b80cd-27cd-4a57-a758-ff3f453d87f9" providerId="ADAL" clId="{DEAD9170-E27A-4B4A-B97C-4F8D6C251BB5}" dt="2024-07-19T09:19:19.622" v="60" actId="1036"/>
          <ac:spMkLst>
            <pc:docMk/>
            <pc:sldMk cId="2566058658" sldId="2262"/>
            <ac:spMk id="9" creationId="{D9B84EA8-B855-220B-2BA5-6E20C8555659}"/>
          </ac:spMkLst>
        </pc:spChg>
        <pc:spChg chg="mod">
          <ac:chgData name="Aiym Zhakhina" userId="dd9b80cd-27cd-4a57-a758-ff3f453d87f9" providerId="ADAL" clId="{DEAD9170-E27A-4B4A-B97C-4F8D6C251BB5}" dt="2024-07-19T09:19:15.915" v="52" actId="1036"/>
          <ac:spMkLst>
            <pc:docMk/>
            <pc:sldMk cId="2566058658" sldId="2262"/>
            <ac:spMk id="10" creationId="{CB3EAD57-DE5A-0703-E4CD-BAC797260763}"/>
          </ac:spMkLst>
        </pc:spChg>
        <pc:spChg chg="mod">
          <ac:chgData name="Aiym Zhakhina" userId="dd9b80cd-27cd-4a57-a758-ff3f453d87f9" providerId="ADAL" clId="{DEAD9170-E27A-4B4A-B97C-4F8D6C251BB5}" dt="2024-07-19T09:19:03.478" v="29" actId="1036"/>
          <ac:spMkLst>
            <pc:docMk/>
            <pc:sldMk cId="2566058658" sldId="2262"/>
            <ac:spMk id="11" creationId="{63835E1C-152A-FCA4-3271-106825AA401F}"/>
          </ac:spMkLst>
        </pc:spChg>
        <pc:spChg chg="mod">
          <ac:chgData name="Aiym Zhakhina" userId="dd9b80cd-27cd-4a57-a758-ff3f453d87f9" providerId="ADAL" clId="{DEAD9170-E27A-4B4A-B97C-4F8D6C251BB5}" dt="2024-07-19T09:19:27.205" v="63" actId="20577"/>
          <ac:spMkLst>
            <pc:docMk/>
            <pc:sldMk cId="2566058658" sldId="2262"/>
            <ac:spMk id="43" creationId="{76E9DA9A-37A9-3B40-F43F-1AE01A891458}"/>
          </ac:spMkLst>
        </pc:spChg>
      </pc:sldChg>
      <pc:sldChg chg="modSp mod">
        <pc:chgData name="Aiym Zhakhina" userId="dd9b80cd-27cd-4a57-a758-ff3f453d87f9" providerId="ADAL" clId="{DEAD9170-E27A-4B4A-B97C-4F8D6C251BB5}" dt="2024-07-19T09:14:38.062" v="0" actId="20577"/>
        <pc:sldMkLst>
          <pc:docMk/>
          <pc:sldMk cId="781584985" sldId="2266"/>
        </pc:sldMkLst>
        <pc:spChg chg="mod">
          <ac:chgData name="Aiym Zhakhina" userId="dd9b80cd-27cd-4a57-a758-ff3f453d87f9" providerId="ADAL" clId="{DEAD9170-E27A-4B4A-B97C-4F8D6C251BB5}" dt="2024-07-19T09:14:38.062" v="0" actId="20577"/>
          <ac:spMkLst>
            <pc:docMk/>
            <pc:sldMk cId="781584985" sldId="2266"/>
            <ac:spMk id="5" creationId="{999BDFEB-A206-85C4-0B59-16FA7C6E0FFE}"/>
          </ac:spMkLst>
        </pc:spChg>
      </pc:sldChg>
      <pc:sldChg chg="modSp mod">
        <pc:chgData name="Aiym Zhakhina" userId="dd9b80cd-27cd-4a57-a758-ff3f453d87f9" providerId="ADAL" clId="{DEAD9170-E27A-4B4A-B97C-4F8D6C251BB5}" dt="2024-07-19T09:17:33.608" v="8"/>
        <pc:sldMkLst>
          <pc:docMk/>
          <pc:sldMk cId="3764251038" sldId="2268"/>
        </pc:sldMkLst>
        <pc:spChg chg="mod">
          <ac:chgData name="Aiym Zhakhina" userId="dd9b80cd-27cd-4a57-a758-ff3f453d87f9" providerId="ADAL" clId="{DEAD9170-E27A-4B4A-B97C-4F8D6C251BB5}" dt="2024-07-19T09:17:03.036" v="5" actId="20577"/>
          <ac:spMkLst>
            <pc:docMk/>
            <pc:sldMk cId="3764251038" sldId="2268"/>
            <ac:spMk id="41" creationId="{E9F524AB-C272-6CB6-1927-D9F53E6AC55F}"/>
          </ac:spMkLst>
        </pc:spChg>
        <pc:spChg chg="mod">
          <ac:chgData name="Aiym Zhakhina" userId="dd9b80cd-27cd-4a57-a758-ff3f453d87f9" providerId="ADAL" clId="{DEAD9170-E27A-4B4A-B97C-4F8D6C251BB5}" dt="2024-07-19T09:17:33.608" v="8"/>
          <ac:spMkLst>
            <pc:docMk/>
            <pc:sldMk cId="3764251038" sldId="2268"/>
            <ac:spMk id="54" creationId="{0216701C-4083-F6B4-3AB3-8D95A9B897B9}"/>
          </ac:spMkLst>
        </pc:spChg>
      </pc:sldChg>
      <pc:sldChg chg="modSp mod">
        <pc:chgData name="Aiym Zhakhina" userId="dd9b80cd-27cd-4a57-a758-ff3f453d87f9" providerId="ADAL" clId="{DEAD9170-E27A-4B4A-B97C-4F8D6C251BB5}" dt="2024-07-19T09:23:02.191" v="69" actId="20577"/>
        <pc:sldMkLst>
          <pc:docMk/>
          <pc:sldMk cId="2575797221" sldId="2269"/>
        </pc:sldMkLst>
        <pc:spChg chg="mod">
          <ac:chgData name="Aiym Zhakhina" userId="dd9b80cd-27cd-4a57-a758-ff3f453d87f9" providerId="ADAL" clId="{DEAD9170-E27A-4B4A-B97C-4F8D6C251BB5}" dt="2024-07-19T09:23:02.191" v="69" actId="20577"/>
          <ac:spMkLst>
            <pc:docMk/>
            <pc:sldMk cId="2575797221" sldId="2269"/>
            <ac:spMk id="41" creationId="{1B76418E-E0A3-2871-3BA1-41DE1238C80A}"/>
          </ac:spMkLst>
        </pc:spChg>
      </pc:sldChg>
    </pc:docChg>
  </pc:docChgLst>
  <pc:docChgLst>
    <pc:chgData name="Timur Karimsakov" userId="ea04722c-9be7-49ff-9a17-c5a9c646d8a7" providerId="ADAL" clId="{3B2E2D3F-B308-483A-8E63-D702EB5B37B6}"/>
    <pc:docChg chg="undo redo custSel modSld">
      <pc:chgData name="Timur Karimsakov" userId="ea04722c-9be7-49ff-9a17-c5a9c646d8a7" providerId="ADAL" clId="{3B2E2D3F-B308-483A-8E63-D702EB5B37B6}" dt="2024-06-19T07:12:37.184" v="1193" actId="1076"/>
      <pc:docMkLst>
        <pc:docMk/>
      </pc:docMkLst>
      <pc:sldChg chg="modSp mod">
        <pc:chgData name="Timur Karimsakov" userId="ea04722c-9be7-49ff-9a17-c5a9c646d8a7" providerId="ADAL" clId="{3B2E2D3F-B308-483A-8E63-D702EB5B37B6}" dt="2024-06-19T05:33:57.574" v="114" actId="20577"/>
        <pc:sldMkLst>
          <pc:docMk/>
          <pc:sldMk cId="15871163" sldId="257"/>
        </pc:sldMkLst>
        <pc:spChg chg="mod">
          <ac:chgData name="Timur Karimsakov" userId="ea04722c-9be7-49ff-9a17-c5a9c646d8a7" providerId="ADAL" clId="{3B2E2D3F-B308-483A-8E63-D702EB5B37B6}" dt="2024-06-19T05:33:57.574" v="114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modSp mod">
        <pc:chgData name="Timur Karimsakov" userId="ea04722c-9be7-49ff-9a17-c5a9c646d8a7" providerId="ADAL" clId="{3B2E2D3F-B308-483A-8E63-D702EB5B37B6}" dt="2024-06-19T07:12:02.604" v="1190" actId="20577"/>
        <pc:sldMkLst>
          <pc:docMk/>
          <pc:sldMk cId="4078718328" sldId="2184"/>
        </pc:sldMkLst>
        <pc:spChg chg="mod">
          <ac:chgData name="Timur Karimsakov" userId="ea04722c-9be7-49ff-9a17-c5a9c646d8a7" providerId="ADAL" clId="{3B2E2D3F-B308-483A-8E63-D702EB5B37B6}" dt="2024-06-19T06:32:08.470" v="728" actId="1036"/>
          <ac:spMkLst>
            <pc:docMk/>
            <pc:sldMk cId="4078718328" sldId="2184"/>
            <ac:spMk id="2" creationId="{CE6236F5-7F09-1A5B-F594-337A4613C3F0}"/>
          </ac:spMkLst>
        </pc:spChg>
        <pc:spChg chg="mod">
          <ac:chgData name="Timur Karimsakov" userId="ea04722c-9be7-49ff-9a17-c5a9c646d8a7" providerId="ADAL" clId="{3B2E2D3F-B308-483A-8E63-D702EB5B37B6}" dt="2024-06-19T07:12:02.604" v="1190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Timur Karimsakov" userId="ea04722c-9be7-49ff-9a17-c5a9c646d8a7" providerId="ADAL" clId="{3B2E2D3F-B308-483A-8E63-D702EB5B37B6}" dt="2024-06-19T06:32:04.970" v="726" actId="1036"/>
          <ac:spMkLst>
            <pc:docMk/>
            <pc:sldMk cId="4078718328" sldId="2184"/>
            <ac:spMk id="19" creationId="{1E1E9373-97B6-3891-1208-041BD7411038}"/>
          </ac:spMkLst>
        </pc:spChg>
        <pc:spChg chg="mod">
          <ac:chgData name="Timur Karimsakov" userId="ea04722c-9be7-49ff-9a17-c5a9c646d8a7" providerId="ADAL" clId="{3B2E2D3F-B308-483A-8E63-D702EB5B37B6}" dt="2024-06-19T06:31:47.549" v="695" actId="1035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Timur Karimsakov" userId="ea04722c-9be7-49ff-9a17-c5a9c646d8a7" providerId="ADAL" clId="{3B2E2D3F-B308-483A-8E63-D702EB5B37B6}" dt="2024-06-19T06:32:02.222" v="723" actId="1036"/>
          <ac:spMkLst>
            <pc:docMk/>
            <pc:sldMk cId="4078718328" sldId="2184"/>
            <ac:spMk id="23" creationId="{6A40FC35-7537-C90D-C0D6-C521A603A37E}"/>
          </ac:spMkLst>
        </pc:spChg>
        <pc:spChg chg="mod">
          <ac:chgData name="Timur Karimsakov" userId="ea04722c-9be7-49ff-9a17-c5a9c646d8a7" providerId="ADAL" clId="{3B2E2D3F-B308-483A-8E63-D702EB5B37B6}" dt="2024-06-19T06:32:00.054" v="720" actId="1038"/>
          <ac:spMkLst>
            <pc:docMk/>
            <pc:sldMk cId="4078718328" sldId="2184"/>
            <ac:spMk id="24" creationId="{86048335-57D5-C7F0-CF8E-62463E71FFF9}"/>
          </ac:spMkLst>
        </pc:spChg>
        <pc:spChg chg="mod">
          <ac:chgData name="Timur Karimsakov" userId="ea04722c-9be7-49ff-9a17-c5a9c646d8a7" providerId="ADAL" clId="{3B2E2D3F-B308-483A-8E63-D702EB5B37B6}" dt="2024-06-19T06:31:55.988" v="712" actId="1036"/>
          <ac:spMkLst>
            <pc:docMk/>
            <pc:sldMk cId="4078718328" sldId="2184"/>
            <ac:spMk id="25" creationId="{760095B9-C0E5-3C10-2E30-18E3DF0AFAF2}"/>
          </ac:spMkLst>
        </pc:spChg>
        <pc:spChg chg="mod">
          <ac:chgData name="Timur Karimsakov" userId="ea04722c-9be7-49ff-9a17-c5a9c646d8a7" providerId="ADAL" clId="{3B2E2D3F-B308-483A-8E63-D702EB5B37B6}" dt="2024-06-19T06:31:51.264" v="704" actId="1038"/>
          <ac:spMkLst>
            <pc:docMk/>
            <pc:sldMk cId="4078718328" sldId="2184"/>
            <ac:spMk id="26" creationId="{830276EE-0FFE-9C29-C177-1DB5B7C376A3}"/>
          </ac:spMkLst>
        </pc:spChg>
        <pc:spChg chg="mod">
          <ac:chgData name="Timur Karimsakov" userId="ea04722c-9be7-49ff-9a17-c5a9c646d8a7" providerId="ADAL" clId="{3B2E2D3F-B308-483A-8E63-D702EB5B37B6}" dt="2024-06-19T06:38:36.553" v="766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Timur Karimsakov" userId="ea04722c-9be7-49ff-9a17-c5a9c646d8a7" providerId="ADAL" clId="{3B2E2D3F-B308-483A-8E63-D702EB5B37B6}" dt="2024-06-19T06:31:16.927" v="685" actId="14100"/>
          <ac:spMkLst>
            <pc:docMk/>
            <pc:sldMk cId="4078718328" sldId="2184"/>
            <ac:spMk id="31" creationId="{1B43C88C-97F7-E43F-2336-6CFB022A3A87}"/>
          </ac:spMkLst>
        </pc:spChg>
        <pc:graphicFrameChg chg="mod">
          <ac:chgData name="Timur Karimsakov" userId="ea04722c-9be7-49ff-9a17-c5a9c646d8a7" providerId="ADAL" clId="{3B2E2D3F-B308-483A-8E63-D702EB5B37B6}" dt="2024-06-19T06:30:52.954" v="661" actId="1076"/>
          <ac:graphicFrameMkLst>
            <pc:docMk/>
            <pc:sldMk cId="4078718328" sldId="2184"/>
            <ac:graphicFrameMk id="41" creationId="{BA702ED6-5EC1-1D8B-8587-A5C8A893CC3D}"/>
          </ac:graphicFrameMkLst>
        </pc:graphicFrameChg>
      </pc:sldChg>
      <pc:sldChg chg="modSp mod">
        <pc:chgData name="Timur Karimsakov" userId="ea04722c-9be7-49ff-9a17-c5a9c646d8a7" providerId="ADAL" clId="{3B2E2D3F-B308-483A-8E63-D702EB5B37B6}" dt="2024-06-19T06:53:29.550" v="956" actId="1036"/>
        <pc:sldMkLst>
          <pc:docMk/>
          <pc:sldMk cId="2298565077" sldId="2186"/>
        </pc:sldMkLst>
        <pc:spChg chg="mod">
          <ac:chgData name="Timur Karimsakov" userId="ea04722c-9be7-49ff-9a17-c5a9c646d8a7" providerId="ADAL" clId="{3B2E2D3F-B308-483A-8E63-D702EB5B37B6}" dt="2024-06-19T06:53:29.550" v="956" actId="1036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Timur Karimsakov" userId="ea04722c-9be7-49ff-9a17-c5a9c646d8a7" providerId="ADAL" clId="{3B2E2D3F-B308-483A-8E63-D702EB5B37B6}" dt="2024-06-19T06:52:29.478" v="940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Timur Karimsakov" userId="ea04722c-9be7-49ff-9a17-c5a9c646d8a7" providerId="ADAL" clId="{3B2E2D3F-B308-483A-8E63-D702EB5B37B6}" dt="2024-06-19T06:52:39.118" v="944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modSp mod">
        <pc:chgData name="Timur Karimsakov" userId="ea04722c-9be7-49ff-9a17-c5a9c646d8a7" providerId="ADAL" clId="{3B2E2D3F-B308-483A-8E63-D702EB5B37B6}" dt="2024-06-19T06:51:41.088" v="936" actId="20577"/>
        <pc:sldMkLst>
          <pc:docMk/>
          <pc:sldMk cId="1727869833" sldId="2187"/>
        </pc:sldMkLst>
        <pc:spChg chg="mod">
          <ac:chgData name="Timur Karimsakov" userId="ea04722c-9be7-49ff-9a17-c5a9c646d8a7" providerId="ADAL" clId="{3B2E2D3F-B308-483A-8E63-D702EB5B37B6}" dt="2024-06-19T06:49:47.872" v="891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Timur Karimsakov" userId="ea04722c-9be7-49ff-9a17-c5a9c646d8a7" providerId="ADAL" clId="{3B2E2D3F-B308-483A-8E63-D702EB5B37B6}" dt="2024-06-19T06:50:00.120" v="902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Timur Karimsakov" userId="ea04722c-9be7-49ff-9a17-c5a9c646d8a7" providerId="ADAL" clId="{3B2E2D3F-B308-483A-8E63-D702EB5B37B6}" dt="2024-06-19T06:49:23.104" v="889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Timur Karimsakov" userId="ea04722c-9be7-49ff-9a17-c5a9c646d8a7" providerId="ADAL" clId="{3B2E2D3F-B308-483A-8E63-D702EB5B37B6}" dt="2024-06-19T06:51:41.088" v="936" actId="20577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3B2E2D3F-B308-483A-8E63-D702EB5B37B6}" dt="2024-06-19T06:51:07.879" v="920" actId="20577"/>
          <ac:spMkLst>
            <pc:docMk/>
            <pc:sldMk cId="1727869833" sldId="2187"/>
            <ac:spMk id="30" creationId="{1EF8A265-7911-B274-2E61-42A4C8C332CC}"/>
          </ac:spMkLst>
        </pc:spChg>
        <pc:spChg chg="mod">
          <ac:chgData name="Timur Karimsakov" userId="ea04722c-9be7-49ff-9a17-c5a9c646d8a7" providerId="ADAL" clId="{3B2E2D3F-B308-483A-8E63-D702EB5B37B6}" dt="2024-06-19T06:51:14.653" v="925" actId="20577"/>
          <ac:spMkLst>
            <pc:docMk/>
            <pc:sldMk cId="1727869833" sldId="2187"/>
            <ac:spMk id="31" creationId="{1B43C88C-97F7-E43F-2336-6CFB022A3A87}"/>
          </ac:spMkLst>
        </pc:spChg>
        <pc:graphicFrameChg chg="mod">
          <ac:chgData name="Timur Karimsakov" userId="ea04722c-9be7-49ff-9a17-c5a9c646d8a7" providerId="ADAL" clId="{3B2E2D3F-B308-483A-8E63-D702EB5B37B6}" dt="2024-06-19T06:51:35.027" v="930"/>
          <ac:graphicFrameMkLst>
            <pc:docMk/>
            <pc:sldMk cId="1727869833" sldId="2187"/>
            <ac:graphicFrameMk id="41" creationId="{BA702ED6-5EC1-1D8B-8587-A5C8A893CC3D}"/>
          </ac:graphicFrameMkLst>
        </pc:graphicFrameChg>
      </pc:sldChg>
      <pc:sldChg chg="modSp mod">
        <pc:chgData name="Timur Karimsakov" userId="ea04722c-9be7-49ff-9a17-c5a9c646d8a7" providerId="ADAL" clId="{3B2E2D3F-B308-483A-8E63-D702EB5B37B6}" dt="2024-06-19T06:04:48.618" v="286" actId="20577"/>
        <pc:sldMkLst>
          <pc:docMk/>
          <pc:sldMk cId="4169002209" sldId="2223"/>
        </pc:sldMkLst>
        <pc:spChg chg="mod">
          <ac:chgData name="Timur Karimsakov" userId="ea04722c-9be7-49ff-9a17-c5a9c646d8a7" providerId="ADAL" clId="{3B2E2D3F-B308-483A-8E63-D702EB5B37B6}" dt="2024-06-19T06:04:48.618" v="286" actId="20577"/>
          <ac:spMkLst>
            <pc:docMk/>
            <pc:sldMk cId="4169002209" sldId="2223"/>
            <ac:spMk id="59" creationId="{F68AFB7F-E7C0-84DC-02B5-FCAB9404065C}"/>
          </ac:spMkLst>
        </pc:spChg>
      </pc:sldChg>
      <pc:sldChg chg="delSp modSp mod">
        <pc:chgData name="Timur Karimsakov" userId="ea04722c-9be7-49ff-9a17-c5a9c646d8a7" providerId="ADAL" clId="{3B2E2D3F-B308-483A-8E63-D702EB5B37B6}" dt="2024-06-19T07:11:17.566" v="1180" actId="13926"/>
        <pc:sldMkLst>
          <pc:docMk/>
          <pc:sldMk cId="2566058658" sldId="2262"/>
        </pc:sldMkLst>
        <pc:spChg chg="mod">
          <ac:chgData name="Timur Karimsakov" userId="ea04722c-9be7-49ff-9a17-c5a9c646d8a7" providerId="ADAL" clId="{3B2E2D3F-B308-483A-8E63-D702EB5B37B6}" dt="2024-06-19T06:28:34.406" v="616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Timur Karimsakov" userId="ea04722c-9be7-49ff-9a17-c5a9c646d8a7" providerId="ADAL" clId="{3B2E2D3F-B308-483A-8E63-D702EB5B37B6}" dt="2024-06-19T06:28:49.395" v="625" actId="14100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Timur Karimsakov" userId="ea04722c-9be7-49ff-9a17-c5a9c646d8a7" providerId="ADAL" clId="{3B2E2D3F-B308-483A-8E63-D702EB5B37B6}" dt="2024-06-19T07:11:17.566" v="1180" actId="13926"/>
          <ac:spMkLst>
            <pc:docMk/>
            <pc:sldMk cId="2566058658" sldId="2262"/>
            <ac:spMk id="14" creationId="{617FB446-C6E3-CA35-EF37-8EA50823E8FC}"/>
          </ac:spMkLst>
        </pc:spChg>
        <pc:spChg chg="mod">
          <ac:chgData name="Timur Karimsakov" userId="ea04722c-9be7-49ff-9a17-c5a9c646d8a7" providerId="ADAL" clId="{3B2E2D3F-B308-483A-8E63-D702EB5B37B6}" dt="2024-06-19T06:25:32.907" v="609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Timur Karimsakov" userId="ea04722c-9be7-49ff-9a17-c5a9c646d8a7" providerId="ADAL" clId="{3B2E2D3F-B308-483A-8E63-D702EB5B37B6}" dt="2024-06-19T06:29:39.560" v="648" actId="1076"/>
          <ac:spMkLst>
            <pc:docMk/>
            <pc:sldMk cId="2566058658" sldId="2262"/>
            <ac:spMk id="27" creationId="{6B3D17CA-F792-DC19-AF9F-1B3065878F5C}"/>
          </ac:spMkLst>
        </pc:spChg>
        <pc:spChg chg="del">
          <ac:chgData name="Timur Karimsakov" userId="ea04722c-9be7-49ff-9a17-c5a9c646d8a7" providerId="ADAL" clId="{3B2E2D3F-B308-483A-8E63-D702EB5B37B6}" dt="2024-06-19T06:29:35.727" v="647" actId="478"/>
          <ac:spMkLst>
            <pc:docMk/>
            <pc:sldMk cId="2566058658" sldId="2262"/>
            <ac:spMk id="28" creationId="{BA60F2E3-2777-D56D-B1FF-0B46E4221172}"/>
          </ac:spMkLst>
        </pc:spChg>
        <pc:spChg chg="mod">
          <ac:chgData name="Timur Karimsakov" userId="ea04722c-9be7-49ff-9a17-c5a9c646d8a7" providerId="ADAL" clId="{3B2E2D3F-B308-483A-8E63-D702EB5B37B6}" dt="2024-06-19T06:29:24.853" v="642" actId="1038"/>
          <ac:spMkLst>
            <pc:docMk/>
            <pc:sldMk cId="2566058658" sldId="2262"/>
            <ac:spMk id="43" creationId="{76E9DA9A-37A9-3B40-F43F-1AE01A891458}"/>
          </ac:spMkLst>
        </pc:spChg>
        <pc:spChg chg="mod">
          <ac:chgData name="Timur Karimsakov" userId="ea04722c-9be7-49ff-9a17-c5a9c646d8a7" providerId="ADAL" clId="{3B2E2D3F-B308-483A-8E63-D702EB5B37B6}" dt="2024-06-19T06:29:43.940" v="652" actId="20577"/>
          <ac:spMkLst>
            <pc:docMk/>
            <pc:sldMk cId="2566058658" sldId="2262"/>
            <ac:spMk id="69" creationId="{B877ECC2-2520-FEDB-518D-37474CC4E7F2}"/>
          </ac:spMkLst>
        </pc:spChg>
        <pc:cxnChg chg="mod">
          <ac:chgData name="Timur Karimsakov" userId="ea04722c-9be7-49ff-9a17-c5a9c646d8a7" providerId="ADAL" clId="{3B2E2D3F-B308-483A-8E63-D702EB5B37B6}" dt="2024-06-19T07:10:43.509" v="1162" actId="1037"/>
          <ac:cxnSpMkLst>
            <pc:docMk/>
            <pc:sldMk cId="2566058658" sldId="2262"/>
            <ac:cxnSpMk id="37" creationId="{CDDA746B-5AE8-FB5D-FF63-F1AA6F1DF346}"/>
          </ac:cxnSpMkLst>
        </pc:cxnChg>
        <pc:cxnChg chg="mod">
          <ac:chgData name="Timur Karimsakov" userId="ea04722c-9be7-49ff-9a17-c5a9c646d8a7" providerId="ADAL" clId="{3B2E2D3F-B308-483A-8E63-D702EB5B37B6}" dt="2024-06-19T07:11:12.699" v="1179" actId="1037"/>
          <ac:cxnSpMkLst>
            <pc:docMk/>
            <pc:sldMk cId="2566058658" sldId="2262"/>
            <ac:cxnSpMk id="38" creationId="{70B18888-9B4F-FC5D-64D1-E8837E49B913}"/>
          </ac:cxnSpMkLst>
        </pc:cxnChg>
        <pc:cxnChg chg="mod">
          <ac:chgData name="Timur Karimsakov" userId="ea04722c-9be7-49ff-9a17-c5a9c646d8a7" providerId="ADAL" clId="{3B2E2D3F-B308-483A-8E63-D702EB5B37B6}" dt="2024-06-19T07:11:07.283" v="1176" actId="1037"/>
          <ac:cxnSpMkLst>
            <pc:docMk/>
            <pc:sldMk cId="2566058658" sldId="2262"/>
            <ac:cxnSpMk id="39" creationId="{FDCE8C00-89C1-C6FC-BFCC-31D729F7D731}"/>
          </ac:cxnSpMkLst>
        </pc:cxnChg>
        <pc:cxnChg chg="mod">
          <ac:chgData name="Timur Karimsakov" userId="ea04722c-9be7-49ff-9a17-c5a9c646d8a7" providerId="ADAL" clId="{3B2E2D3F-B308-483A-8E63-D702EB5B37B6}" dt="2024-06-19T07:11:00.146" v="1174" actId="1038"/>
          <ac:cxnSpMkLst>
            <pc:docMk/>
            <pc:sldMk cId="2566058658" sldId="2262"/>
            <ac:cxnSpMk id="40" creationId="{6A7C9D59-41CD-95D3-91E8-E2D8BB309606}"/>
          </ac:cxnSpMkLst>
        </pc:cxnChg>
        <pc:cxnChg chg="mod">
          <ac:chgData name="Timur Karimsakov" userId="ea04722c-9be7-49ff-9a17-c5a9c646d8a7" providerId="ADAL" clId="{3B2E2D3F-B308-483A-8E63-D702EB5B37B6}" dt="2024-06-19T07:10:53.007" v="1168" actId="1038"/>
          <ac:cxnSpMkLst>
            <pc:docMk/>
            <pc:sldMk cId="2566058658" sldId="2262"/>
            <ac:cxnSpMk id="42" creationId="{39BD2136-7ABC-2A0B-5E7E-C3EEBBECCA16}"/>
          </ac:cxnSpMkLst>
        </pc:cxnChg>
      </pc:sldChg>
      <pc:sldChg chg="delSp modSp mod">
        <pc:chgData name="Timur Karimsakov" userId="ea04722c-9be7-49ff-9a17-c5a9c646d8a7" providerId="ADAL" clId="{3B2E2D3F-B308-483A-8E63-D702EB5B37B6}" dt="2024-06-19T06:24:16.463" v="582" actId="20577"/>
        <pc:sldMkLst>
          <pc:docMk/>
          <pc:sldMk cId="781584985" sldId="2266"/>
        </pc:sldMkLst>
        <pc:spChg chg="mod">
          <ac:chgData name="Timur Karimsakov" userId="ea04722c-9be7-49ff-9a17-c5a9c646d8a7" providerId="ADAL" clId="{3B2E2D3F-B308-483A-8E63-D702EB5B37B6}" dt="2024-06-19T06:24:16.463" v="582" actId="20577"/>
          <ac:spMkLst>
            <pc:docMk/>
            <pc:sldMk cId="781584985" sldId="2266"/>
            <ac:spMk id="2" creationId="{BD2CB8FC-6BA7-8072-C621-DF5C7DA19DDD}"/>
          </ac:spMkLst>
        </pc:spChg>
        <pc:spChg chg="mod">
          <ac:chgData name="Timur Karimsakov" userId="ea04722c-9be7-49ff-9a17-c5a9c646d8a7" providerId="ADAL" clId="{3B2E2D3F-B308-483A-8E63-D702EB5B37B6}" dt="2024-06-19T05:59:43.494" v="148" actId="20577"/>
          <ac:spMkLst>
            <pc:docMk/>
            <pc:sldMk cId="781584985" sldId="2266"/>
            <ac:spMk id="3" creationId="{E662F5FB-6268-A082-5539-E6DDA10ED133}"/>
          </ac:spMkLst>
        </pc:spChg>
        <pc:spChg chg="mod">
          <ac:chgData name="Timur Karimsakov" userId="ea04722c-9be7-49ff-9a17-c5a9c646d8a7" providerId="ADAL" clId="{3B2E2D3F-B308-483A-8E63-D702EB5B37B6}" dt="2024-06-19T06:00:22.897" v="210" actId="20577"/>
          <ac:spMkLst>
            <pc:docMk/>
            <pc:sldMk cId="781584985" sldId="2266"/>
            <ac:spMk id="5" creationId="{999BDFEB-A206-85C4-0B59-16FA7C6E0FFE}"/>
          </ac:spMkLst>
        </pc:spChg>
        <pc:spChg chg="del">
          <ac:chgData name="Timur Karimsakov" userId="ea04722c-9be7-49ff-9a17-c5a9c646d8a7" providerId="ADAL" clId="{3B2E2D3F-B308-483A-8E63-D702EB5B37B6}" dt="2024-06-19T05:54:00.094" v="143" actId="478"/>
          <ac:spMkLst>
            <pc:docMk/>
            <pc:sldMk cId="781584985" sldId="2266"/>
            <ac:spMk id="6" creationId="{456451E5-418E-5C5F-B3D0-ECB56F18D4F3}"/>
          </ac:spMkLst>
        </pc:spChg>
        <pc:spChg chg="mod">
          <ac:chgData name="Timur Karimsakov" userId="ea04722c-9be7-49ff-9a17-c5a9c646d8a7" providerId="ADAL" clId="{3B2E2D3F-B308-483A-8E63-D702EB5B37B6}" dt="2024-06-19T06:00:58.832" v="236" actId="1076"/>
          <ac:spMkLst>
            <pc:docMk/>
            <pc:sldMk cId="781584985" sldId="2266"/>
            <ac:spMk id="8" creationId="{21532806-4319-7634-0875-E11A9151F768}"/>
          </ac:spMkLst>
        </pc:spChg>
        <pc:spChg chg="mod">
          <ac:chgData name="Timur Karimsakov" userId="ea04722c-9be7-49ff-9a17-c5a9c646d8a7" providerId="ADAL" clId="{3B2E2D3F-B308-483A-8E63-D702EB5B37B6}" dt="2024-06-19T06:01:02.842" v="237" actId="1076"/>
          <ac:spMkLst>
            <pc:docMk/>
            <pc:sldMk cId="781584985" sldId="2266"/>
            <ac:spMk id="10" creationId="{52785138-A214-64F8-152E-ABD46BCBF8B1}"/>
          </ac:spMkLst>
        </pc:spChg>
        <pc:spChg chg="mod">
          <ac:chgData name="Timur Karimsakov" userId="ea04722c-9be7-49ff-9a17-c5a9c646d8a7" providerId="ADAL" clId="{3B2E2D3F-B308-483A-8E63-D702EB5B37B6}" dt="2024-06-19T06:02:46.171" v="262" actId="20577"/>
          <ac:spMkLst>
            <pc:docMk/>
            <pc:sldMk cId="781584985" sldId="2266"/>
            <ac:spMk id="11" creationId="{B6C57508-C52E-3266-815E-55AE51AD1546}"/>
          </ac:spMkLst>
        </pc:spChg>
        <pc:spChg chg="mod">
          <ac:chgData name="Timur Karimsakov" userId="ea04722c-9be7-49ff-9a17-c5a9c646d8a7" providerId="ADAL" clId="{3B2E2D3F-B308-483A-8E63-D702EB5B37B6}" dt="2024-06-19T06:01:22.217" v="245" actId="20577"/>
          <ac:spMkLst>
            <pc:docMk/>
            <pc:sldMk cId="781584985" sldId="2266"/>
            <ac:spMk id="13" creationId="{AC84348C-3720-FEF6-79E9-BB1361A905E8}"/>
          </ac:spMkLst>
        </pc:spChg>
        <pc:spChg chg="mod">
          <ac:chgData name="Timur Karimsakov" userId="ea04722c-9be7-49ff-9a17-c5a9c646d8a7" providerId="ADAL" clId="{3B2E2D3F-B308-483A-8E63-D702EB5B37B6}" dt="2024-06-19T06:01:28.838" v="247" actId="20577"/>
          <ac:spMkLst>
            <pc:docMk/>
            <pc:sldMk cId="781584985" sldId="2266"/>
            <ac:spMk id="16" creationId="{E1F1BB03-B6CE-0826-CB63-3466F6634D68}"/>
          </ac:spMkLst>
        </pc:spChg>
        <pc:spChg chg="mod">
          <ac:chgData name="Timur Karimsakov" userId="ea04722c-9be7-49ff-9a17-c5a9c646d8a7" providerId="ADAL" clId="{3B2E2D3F-B308-483A-8E63-D702EB5B37B6}" dt="2024-06-19T06:01:15.691" v="242" actId="20577"/>
          <ac:spMkLst>
            <pc:docMk/>
            <pc:sldMk cId="781584985" sldId="2266"/>
            <ac:spMk id="18" creationId="{662206EC-626D-5433-AAE8-837DEE0D910E}"/>
          </ac:spMkLst>
        </pc:spChg>
        <pc:spChg chg="del">
          <ac:chgData name="Timur Karimsakov" userId="ea04722c-9be7-49ff-9a17-c5a9c646d8a7" providerId="ADAL" clId="{3B2E2D3F-B308-483A-8E63-D702EB5B37B6}" dt="2024-06-19T05:54:00.094" v="143" actId="478"/>
          <ac:spMkLst>
            <pc:docMk/>
            <pc:sldMk cId="781584985" sldId="2266"/>
            <ac:spMk id="21" creationId="{9CB1B6D5-E16D-BE90-02C8-5235C0DAA7E5}"/>
          </ac:spMkLst>
        </pc:spChg>
        <pc:spChg chg="del">
          <ac:chgData name="Timur Karimsakov" userId="ea04722c-9be7-49ff-9a17-c5a9c646d8a7" providerId="ADAL" clId="{3B2E2D3F-B308-483A-8E63-D702EB5B37B6}" dt="2024-06-19T05:54:00.094" v="143" actId="478"/>
          <ac:spMkLst>
            <pc:docMk/>
            <pc:sldMk cId="781584985" sldId="2266"/>
            <ac:spMk id="25" creationId="{EB84C300-3444-C43B-2083-01B261CEF8C2}"/>
          </ac:spMkLst>
        </pc:spChg>
        <pc:spChg chg="mod">
          <ac:chgData name="Timur Karimsakov" userId="ea04722c-9be7-49ff-9a17-c5a9c646d8a7" providerId="ADAL" clId="{3B2E2D3F-B308-483A-8E63-D702EB5B37B6}" dt="2024-06-19T05:54:14.839" v="144" actId="1076"/>
          <ac:spMkLst>
            <pc:docMk/>
            <pc:sldMk cId="781584985" sldId="2266"/>
            <ac:spMk id="26" creationId="{2BD52AC1-D19D-1FEB-BF3D-3E19E645E2A1}"/>
          </ac:spMkLst>
        </pc:spChg>
        <pc:spChg chg="mod">
          <ac:chgData name="Timur Karimsakov" userId="ea04722c-9be7-49ff-9a17-c5a9c646d8a7" providerId="ADAL" clId="{3B2E2D3F-B308-483A-8E63-D702EB5B37B6}" dt="2024-06-19T05:59:46.835" v="151" actId="20577"/>
          <ac:spMkLst>
            <pc:docMk/>
            <pc:sldMk cId="781584985" sldId="2266"/>
            <ac:spMk id="36" creationId="{4632B407-B4E1-C949-F143-CBA4D040767D}"/>
          </ac:spMkLst>
        </pc:spChg>
        <pc:grpChg chg="mod">
          <ac:chgData name="Timur Karimsakov" userId="ea04722c-9be7-49ff-9a17-c5a9c646d8a7" providerId="ADAL" clId="{3B2E2D3F-B308-483A-8E63-D702EB5B37B6}" dt="2024-06-19T05:54:43.751" v="146" actId="1076"/>
          <ac:grpSpMkLst>
            <pc:docMk/>
            <pc:sldMk cId="781584985" sldId="2266"/>
            <ac:grpSpMk id="14" creationId="{C5D266CA-0CA9-8EC8-0A43-03A0C4BA5A7F}"/>
          </ac:grpSpMkLst>
        </pc:grpChg>
        <pc:grpChg chg="mod">
          <ac:chgData name="Timur Karimsakov" userId="ea04722c-9be7-49ff-9a17-c5a9c646d8a7" providerId="ADAL" clId="{3B2E2D3F-B308-483A-8E63-D702EB5B37B6}" dt="2024-06-19T05:54:25.186" v="145" actId="1076"/>
          <ac:grpSpMkLst>
            <pc:docMk/>
            <pc:sldMk cId="781584985" sldId="2266"/>
            <ac:grpSpMk id="39" creationId="{40984467-3B6D-8CA3-A615-3409F3E582B8}"/>
          </ac:grpSpMkLst>
        </pc:grpChg>
        <pc:grpChg chg="del">
          <ac:chgData name="Timur Karimsakov" userId="ea04722c-9be7-49ff-9a17-c5a9c646d8a7" providerId="ADAL" clId="{3B2E2D3F-B308-483A-8E63-D702EB5B37B6}" dt="2024-06-19T05:54:00.094" v="143" actId="478"/>
          <ac:grpSpMkLst>
            <pc:docMk/>
            <pc:sldMk cId="781584985" sldId="2266"/>
            <ac:grpSpMk id="40" creationId="{D4F83761-4E0B-22E1-C201-D3B53D3578C6}"/>
          </ac:grpSpMkLst>
        </pc:grpChg>
        <pc:cxnChg chg="mod">
          <ac:chgData name="Timur Karimsakov" userId="ea04722c-9be7-49ff-9a17-c5a9c646d8a7" providerId="ADAL" clId="{3B2E2D3F-B308-483A-8E63-D702EB5B37B6}" dt="2024-06-19T05:54:25.186" v="145" actId="1076"/>
          <ac:cxnSpMkLst>
            <pc:docMk/>
            <pc:sldMk cId="781584985" sldId="2266"/>
            <ac:cxnSpMk id="4" creationId="{43A22D32-D012-287B-6A8D-EA77515FEBCF}"/>
          </ac:cxnSpMkLst>
        </pc:cxnChg>
        <pc:cxnChg chg="mod">
          <ac:chgData name="Timur Karimsakov" userId="ea04722c-9be7-49ff-9a17-c5a9c646d8a7" providerId="ADAL" clId="{3B2E2D3F-B308-483A-8E63-D702EB5B37B6}" dt="2024-06-19T05:54:43.751" v="146" actId="1076"/>
          <ac:cxnSpMkLst>
            <pc:docMk/>
            <pc:sldMk cId="781584985" sldId="2266"/>
            <ac:cxnSpMk id="12" creationId="{F25F9A3C-A6AC-7B2C-A7C3-15F9DC24E247}"/>
          </ac:cxnSpMkLst>
        </pc:cxnChg>
        <pc:cxnChg chg="del">
          <ac:chgData name="Timur Karimsakov" userId="ea04722c-9be7-49ff-9a17-c5a9c646d8a7" providerId="ADAL" clId="{3B2E2D3F-B308-483A-8E63-D702EB5B37B6}" dt="2024-06-19T05:54:00.094" v="143" actId="478"/>
          <ac:cxnSpMkLst>
            <pc:docMk/>
            <pc:sldMk cId="781584985" sldId="2266"/>
            <ac:cxnSpMk id="24" creationId="{949CDEB5-7DC4-7370-4075-D46E2C98D55E}"/>
          </ac:cxnSpMkLst>
        </pc:cxnChg>
      </pc:sldChg>
      <pc:sldChg chg="modSp mod">
        <pc:chgData name="Timur Karimsakov" userId="ea04722c-9be7-49ff-9a17-c5a9c646d8a7" providerId="ADAL" clId="{3B2E2D3F-B308-483A-8E63-D702EB5B37B6}" dt="2024-06-19T06:07:44.223" v="371" actId="27918"/>
        <pc:sldMkLst>
          <pc:docMk/>
          <pc:sldMk cId="2234924895" sldId="2267"/>
        </pc:sldMkLst>
        <pc:spChg chg="mod">
          <ac:chgData name="Timur Karimsakov" userId="ea04722c-9be7-49ff-9a17-c5a9c646d8a7" providerId="ADAL" clId="{3B2E2D3F-B308-483A-8E63-D702EB5B37B6}" dt="2024-06-19T06:06:40.501" v="351" actId="20577"/>
          <ac:spMkLst>
            <pc:docMk/>
            <pc:sldMk cId="2234924895" sldId="2267"/>
            <ac:spMk id="4" creationId="{D9A7DC92-E6E0-F85D-D643-D022689C0378}"/>
          </ac:spMkLst>
        </pc:spChg>
        <pc:spChg chg="mod">
          <ac:chgData name="Timur Karimsakov" userId="ea04722c-9be7-49ff-9a17-c5a9c646d8a7" providerId="ADAL" clId="{3B2E2D3F-B308-483A-8E63-D702EB5B37B6}" dt="2024-06-19T06:07:18.387" v="362" actId="20577"/>
          <ac:spMkLst>
            <pc:docMk/>
            <pc:sldMk cId="2234924895" sldId="2267"/>
            <ac:spMk id="5" creationId="{B2FD64AC-5415-C72A-A1E8-44F5EDF29AEC}"/>
          </ac:spMkLst>
        </pc:spChg>
        <pc:spChg chg="mod">
          <ac:chgData name="Timur Karimsakov" userId="ea04722c-9be7-49ff-9a17-c5a9c646d8a7" providerId="ADAL" clId="{3B2E2D3F-B308-483A-8E63-D702EB5B37B6}" dt="2024-06-19T06:06:53.915" v="356" actId="20577"/>
          <ac:spMkLst>
            <pc:docMk/>
            <pc:sldMk cId="2234924895" sldId="2267"/>
            <ac:spMk id="13" creationId="{4B231C19-6581-F296-4C38-7C9083947714}"/>
          </ac:spMkLst>
        </pc:spChg>
        <pc:spChg chg="mod">
          <ac:chgData name="Timur Karimsakov" userId="ea04722c-9be7-49ff-9a17-c5a9c646d8a7" providerId="ADAL" clId="{3B2E2D3F-B308-483A-8E63-D702EB5B37B6}" dt="2024-06-19T06:07:26.350" v="367" actId="20577"/>
          <ac:spMkLst>
            <pc:docMk/>
            <pc:sldMk cId="2234924895" sldId="2267"/>
            <ac:spMk id="36" creationId="{03560DEE-38F3-4857-D339-93070E0C0A9F}"/>
          </ac:spMkLst>
        </pc:spChg>
        <pc:spChg chg="mod">
          <ac:chgData name="Timur Karimsakov" userId="ea04722c-9be7-49ff-9a17-c5a9c646d8a7" providerId="ADAL" clId="{3B2E2D3F-B308-483A-8E63-D702EB5B37B6}" dt="2024-06-19T06:04:56.529" v="287" actId="13926"/>
          <ac:spMkLst>
            <pc:docMk/>
            <pc:sldMk cId="2234924895" sldId="2267"/>
            <ac:spMk id="38" creationId="{31D9A82D-1B0D-49BB-4232-5F36564F9A17}"/>
          </ac:spMkLst>
        </pc:spChg>
        <pc:spChg chg="mod">
          <ac:chgData name="Timur Karimsakov" userId="ea04722c-9be7-49ff-9a17-c5a9c646d8a7" providerId="ADAL" clId="{3B2E2D3F-B308-483A-8E63-D702EB5B37B6}" dt="2024-06-19T06:06:22.149" v="349" actId="20577"/>
          <ac:spMkLst>
            <pc:docMk/>
            <pc:sldMk cId="2234924895" sldId="2267"/>
            <ac:spMk id="68" creationId="{2ECA0113-5FE2-F5DA-CE28-D2A789698078}"/>
          </ac:spMkLst>
        </pc:spChg>
      </pc:sldChg>
      <pc:sldChg chg="addSp delSp modSp mod">
        <pc:chgData name="Timur Karimsakov" userId="ea04722c-9be7-49ff-9a17-c5a9c646d8a7" providerId="ADAL" clId="{3B2E2D3F-B308-483A-8E63-D702EB5B37B6}" dt="2024-06-19T06:20:32.740" v="381" actId="20577"/>
        <pc:sldMkLst>
          <pc:docMk/>
          <pc:sldMk cId="3764251038" sldId="2268"/>
        </pc:sldMkLst>
        <pc:spChg chg="mod">
          <ac:chgData name="Timur Karimsakov" userId="ea04722c-9be7-49ff-9a17-c5a9c646d8a7" providerId="ADAL" clId="{3B2E2D3F-B308-483A-8E63-D702EB5B37B6}" dt="2024-06-12T10:17:30.738" v="103" actId="20577"/>
          <ac:spMkLst>
            <pc:docMk/>
            <pc:sldMk cId="3764251038" sldId="2268"/>
            <ac:spMk id="3" creationId="{2464D1AF-2F8C-D101-933F-CCE60EFF3C3C}"/>
          </ac:spMkLst>
        </pc:spChg>
        <pc:spChg chg="mod">
          <ac:chgData name="Timur Karimsakov" userId="ea04722c-9be7-49ff-9a17-c5a9c646d8a7" providerId="ADAL" clId="{3B2E2D3F-B308-483A-8E63-D702EB5B37B6}" dt="2024-06-19T06:18:42.855" v="380" actId="20577"/>
          <ac:spMkLst>
            <pc:docMk/>
            <pc:sldMk cId="3764251038" sldId="2268"/>
            <ac:spMk id="4" creationId="{D9A7DC92-E6E0-F85D-D643-D022689C0378}"/>
          </ac:spMkLst>
        </pc:spChg>
        <pc:spChg chg="add mod">
          <ac:chgData name="Timur Karimsakov" userId="ea04722c-9be7-49ff-9a17-c5a9c646d8a7" providerId="ADAL" clId="{3B2E2D3F-B308-483A-8E63-D702EB5B37B6}" dt="2024-06-12T10:18:00.689" v="106" actId="20577"/>
          <ac:spMkLst>
            <pc:docMk/>
            <pc:sldMk cId="3764251038" sldId="2268"/>
            <ac:spMk id="5" creationId="{C30F0A6D-D667-44F8-E5EF-20A2D9FD065D}"/>
          </ac:spMkLst>
        </pc:spChg>
        <pc:spChg chg="mod">
          <ac:chgData name="Timur Karimsakov" userId="ea04722c-9be7-49ff-9a17-c5a9c646d8a7" providerId="ADAL" clId="{3B2E2D3F-B308-483A-8E63-D702EB5B37B6}" dt="2024-06-19T06:18:38.809" v="378" actId="13926"/>
          <ac:spMkLst>
            <pc:docMk/>
            <pc:sldMk cId="3764251038" sldId="2268"/>
            <ac:spMk id="8" creationId="{85697E62-4051-88FC-C94D-84493D08BE8E}"/>
          </ac:spMkLst>
        </pc:spChg>
        <pc:spChg chg="mod">
          <ac:chgData name="Timur Karimsakov" userId="ea04722c-9be7-49ff-9a17-c5a9c646d8a7" providerId="ADAL" clId="{3B2E2D3F-B308-483A-8E63-D702EB5B37B6}" dt="2024-06-12T10:16:25.924" v="39" actId="20577"/>
          <ac:spMkLst>
            <pc:docMk/>
            <pc:sldMk cId="3764251038" sldId="2268"/>
            <ac:spMk id="11" creationId="{9E498C00-C43D-0A23-C201-5C4C7947DCB6}"/>
          </ac:spMkLst>
        </pc:spChg>
        <pc:spChg chg="del">
          <ac:chgData name="Timur Karimsakov" userId="ea04722c-9be7-49ff-9a17-c5a9c646d8a7" providerId="ADAL" clId="{3B2E2D3F-B308-483A-8E63-D702EB5B37B6}" dt="2024-06-12T10:15:47.356" v="20" actId="478"/>
          <ac:spMkLst>
            <pc:docMk/>
            <pc:sldMk cId="3764251038" sldId="2268"/>
            <ac:spMk id="13" creationId="{4B231C19-6581-F296-4C38-7C9083947714}"/>
          </ac:spMkLst>
        </pc:spChg>
        <pc:spChg chg="add mod">
          <ac:chgData name="Timur Karimsakov" userId="ea04722c-9be7-49ff-9a17-c5a9c646d8a7" providerId="ADAL" clId="{3B2E2D3F-B308-483A-8E63-D702EB5B37B6}" dt="2024-06-12T10:11:48.893" v="4"/>
          <ac:spMkLst>
            <pc:docMk/>
            <pc:sldMk cId="3764251038" sldId="2268"/>
            <ac:spMk id="14" creationId="{EB8E129D-A51F-7697-7A14-A6E6129187F2}"/>
          </ac:spMkLst>
        </pc:spChg>
        <pc:spChg chg="mod">
          <ac:chgData name="Timur Karimsakov" userId="ea04722c-9be7-49ff-9a17-c5a9c646d8a7" providerId="ADAL" clId="{3B2E2D3F-B308-483A-8E63-D702EB5B37B6}" dt="2024-06-19T06:20:32.740" v="381" actId="20577"/>
          <ac:spMkLst>
            <pc:docMk/>
            <pc:sldMk cId="3764251038" sldId="2268"/>
            <ac:spMk id="16" creationId="{975BF9CA-45EA-6DF8-63AF-61D1D382E232}"/>
          </ac:spMkLst>
        </pc:spChg>
        <pc:spChg chg="add mod">
          <ac:chgData name="Timur Karimsakov" userId="ea04722c-9be7-49ff-9a17-c5a9c646d8a7" providerId="ADAL" clId="{3B2E2D3F-B308-483A-8E63-D702EB5B37B6}" dt="2024-06-12T10:11:48.893" v="4"/>
          <ac:spMkLst>
            <pc:docMk/>
            <pc:sldMk cId="3764251038" sldId="2268"/>
            <ac:spMk id="20" creationId="{A5DB1062-3803-C911-ED6A-B0A25247DF52}"/>
          </ac:spMkLst>
        </pc:spChg>
        <pc:spChg chg="del">
          <ac:chgData name="Timur Karimsakov" userId="ea04722c-9be7-49ff-9a17-c5a9c646d8a7" providerId="ADAL" clId="{3B2E2D3F-B308-483A-8E63-D702EB5B37B6}" dt="2024-06-12T10:11:36.319" v="3" actId="478"/>
          <ac:spMkLst>
            <pc:docMk/>
            <pc:sldMk cId="3764251038" sldId="2268"/>
            <ac:spMk id="21" creationId="{0B3BA402-D1E9-DC1B-9C0A-43499745901B}"/>
          </ac:spMkLst>
        </pc:spChg>
        <pc:spChg chg="add mod">
          <ac:chgData name="Timur Karimsakov" userId="ea04722c-9be7-49ff-9a17-c5a9c646d8a7" providerId="ADAL" clId="{3B2E2D3F-B308-483A-8E63-D702EB5B37B6}" dt="2024-06-12T10:11:48.893" v="4"/>
          <ac:spMkLst>
            <pc:docMk/>
            <pc:sldMk cId="3764251038" sldId="2268"/>
            <ac:spMk id="29" creationId="{F735CE24-36B8-64B9-090A-DFBFC431646C}"/>
          </ac:spMkLst>
        </pc:spChg>
        <pc:spChg chg="del">
          <ac:chgData name="Timur Karimsakov" userId="ea04722c-9be7-49ff-9a17-c5a9c646d8a7" providerId="ADAL" clId="{3B2E2D3F-B308-483A-8E63-D702EB5B37B6}" dt="2024-06-12T10:11:36.319" v="3" actId="478"/>
          <ac:spMkLst>
            <pc:docMk/>
            <pc:sldMk cId="3764251038" sldId="2268"/>
            <ac:spMk id="31" creationId="{0A9F51D0-BC78-BED4-4778-5280BF6384A2}"/>
          </ac:spMkLst>
        </pc:spChg>
        <pc:spChg chg="del">
          <ac:chgData name="Timur Karimsakov" userId="ea04722c-9be7-49ff-9a17-c5a9c646d8a7" providerId="ADAL" clId="{3B2E2D3F-B308-483A-8E63-D702EB5B37B6}" dt="2024-06-12T10:11:36.319" v="3" actId="478"/>
          <ac:spMkLst>
            <pc:docMk/>
            <pc:sldMk cId="3764251038" sldId="2268"/>
            <ac:spMk id="32" creationId="{C66220A1-C9F7-AA73-3DE5-EEDAB628E3CB}"/>
          </ac:spMkLst>
        </pc:spChg>
        <pc:spChg chg="mod">
          <ac:chgData name="Timur Karimsakov" userId="ea04722c-9be7-49ff-9a17-c5a9c646d8a7" providerId="ADAL" clId="{3B2E2D3F-B308-483A-8E63-D702EB5B37B6}" dt="2024-06-12T10:16:36.447" v="47" actId="20577"/>
          <ac:spMkLst>
            <pc:docMk/>
            <pc:sldMk cId="3764251038" sldId="2268"/>
            <ac:spMk id="40" creationId="{6D96C172-6369-859E-2898-AC120AD1621B}"/>
          </ac:spMkLst>
        </pc:spChg>
        <pc:spChg chg="add mod">
          <ac:chgData name="Timur Karimsakov" userId="ea04722c-9be7-49ff-9a17-c5a9c646d8a7" providerId="ADAL" clId="{3B2E2D3F-B308-483A-8E63-D702EB5B37B6}" dt="2024-06-12T10:11:48.893" v="4"/>
          <ac:spMkLst>
            <pc:docMk/>
            <pc:sldMk cId="3764251038" sldId="2268"/>
            <ac:spMk id="41" creationId="{E9F524AB-C272-6CB6-1927-D9F53E6AC55F}"/>
          </ac:spMkLst>
        </pc:spChg>
        <pc:spChg chg="add mod">
          <ac:chgData name="Timur Karimsakov" userId="ea04722c-9be7-49ff-9a17-c5a9c646d8a7" providerId="ADAL" clId="{3B2E2D3F-B308-483A-8E63-D702EB5B37B6}" dt="2024-06-12T10:14:49.197" v="19" actId="1035"/>
          <ac:spMkLst>
            <pc:docMk/>
            <pc:sldMk cId="3764251038" sldId="2268"/>
            <ac:spMk id="43" creationId="{6AD82038-4161-625A-17E7-661B095A2912}"/>
          </ac:spMkLst>
        </pc:spChg>
        <pc:spChg chg="del">
          <ac:chgData name="Timur Karimsakov" userId="ea04722c-9be7-49ff-9a17-c5a9c646d8a7" providerId="ADAL" clId="{3B2E2D3F-B308-483A-8E63-D702EB5B37B6}" dt="2024-06-12T10:11:36.319" v="3" actId="478"/>
          <ac:spMkLst>
            <pc:docMk/>
            <pc:sldMk cId="3764251038" sldId="2268"/>
            <ac:spMk id="48" creationId="{0F87610F-10B7-1D68-F3C4-B0BF7E8540FD}"/>
          </ac:spMkLst>
        </pc:spChg>
        <pc:spChg chg="mod">
          <ac:chgData name="Timur Karimsakov" userId="ea04722c-9be7-49ff-9a17-c5a9c646d8a7" providerId="ADAL" clId="{3B2E2D3F-B308-483A-8E63-D702EB5B37B6}" dt="2024-06-12T10:16:41.267" v="53" actId="20577"/>
          <ac:spMkLst>
            <pc:docMk/>
            <pc:sldMk cId="3764251038" sldId="2268"/>
            <ac:spMk id="54" creationId="{0216701C-4083-F6B4-3AB3-8D95A9B897B9}"/>
          </ac:spMkLst>
        </pc:spChg>
        <pc:spChg chg="del">
          <ac:chgData name="Timur Karimsakov" userId="ea04722c-9be7-49ff-9a17-c5a9c646d8a7" providerId="ADAL" clId="{3B2E2D3F-B308-483A-8E63-D702EB5B37B6}" dt="2024-06-12T10:11:36.319" v="3" actId="478"/>
          <ac:spMkLst>
            <pc:docMk/>
            <pc:sldMk cId="3764251038" sldId="2268"/>
            <ac:spMk id="57" creationId="{FE13D0B3-E4CB-48AF-603D-EF7DC335834E}"/>
          </ac:spMkLst>
        </pc:spChg>
        <pc:spChg chg="mod">
          <ac:chgData name="Timur Karimsakov" userId="ea04722c-9be7-49ff-9a17-c5a9c646d8a7" providerId="ADAL" clId="{3B2E2D3F-B308-483A-8E63-D702EB5B37B6}" dt="2024-06-12T10:16:47.203" v="63" actId="20577"/>
          <ac:spMkLst>
            <pc:docMk/>
            <pc:sldMk cId="3764251038" sldId="2268"/>
            <ac:spMk id="58" creationId="{23AEFC16-E431-4148-FFC3-42AF423F00C3}"/>
          </ac:spMkLst>
        </pc:spChg>
        <pc:spChg chg="mod">
          <ac:chgData name="Timur Karimsakov" userId="ea04722c-9be7-49ff-9a17-c5a9c646d8a7" providerId="ADAL" clId="{3B2E2D3F-B308-483A-8E63-D702EB5B37B6}" dt="2024-06-12T10:16:53.654" v="71" actId="20577"/>
          <ac:spMkLst>
            <pc:docMk/>
            <pc:sldMk cId="3764251038" sldId="2268"/>
            <ac:spMk id="62" creationId="{F74FEED1-7820-A185-1136-0619D1D590DA}"/>
          </ac:spMkLst>
        </pc:spChg>
        <pc:spChg chg="mod">
          <ac:chgData name="Timur Karimsakov" userId="ea04722c-9be7-49ff-9a17-c5a9c646d8a7" providerId="ADAL" clId="{3B2E2D3F-B308-483A-8E63-D702EB5B37B6}" dt="2024-06-12T10:16:59.360" v="77" actId="20577"/>
          <ac:spMkLst>
            <pc:docMk/>
            <pc:sldMk cId="3764251038" sldId="2268"/>
            <ac:spMk id="66" creationId="{8BEAD7E1-D24D-18B8-A619-E6083CD77C38}"/>
          </ac:spMkLst>
        </pc:spChg>
        <pc:spChg chg="mod">
          <ac:chgData name="Timur Karimsakov" userId="ea04722c-9be7-49ff-9a17-c5a9c646d8a7" providerId="ADAL" clId="{3B2E2D3F-B308-483A-8E63-D702EB5B37B6}" dt="2024-06-12T10:17:03.458" v="81" actId="20577"/>
          <ac:spMkLst>
            <pc:docMk/>
            <pc:sldMk cId="3764251038" sldId="2268"/>
            <ac:spMk id="70" creationId="{558336F2-F5F8-2FE1-F847-3B2297B27C2E}"/>
          </ac:spMkLst>
        </pc:spChg>
        <pc:spChg chg="mod">
          <ac:chgData name="Timur Karimsakov" userId="ea04722c-9be7-49ff-9a17-c5a9c646d8a7" providerId="ADAL" clId="{3B2E2D3F-B308-483A-8E63-D702EB5B37B6}" dt="2024-06-12T10:17:08.908" v="88" actId="20577"/>
          <ac:spMkLst>
            <pc:docMk/>
            <pc:sldMk cId="3764251038" sldId="2268"/>
            <ac:spMk id="74" creationId="{ACC4AD74-2E37-1282-B8D4-CBC131E4DB0C}"/>
          </ac:spMkLst>
        </pc:spChg>
        <pc:spChg chg="mod">
          <ac:chgData name="Timur Karimsakov" userId="ea04722c-9be7-49ff-9a17-c5a9c646d8a7" providerId="ADAL" clId="{3B2E2D3F-B308-483A-8E63-D702EB5B37B6}" dt="2024-06-12T10:17:17.686" v="93" actId="6549"/>
          <ac:spMkLst>
            <pc:docMk/>
            <pc:sldMk cId="3764251038" sldId="2268"/>
            <ac:spMk id="78" creationId="{6CBB1D02-915C-0E00-3724-7909A516E280}"/>
          </ac:spMkLst>
        </pc:spChg>
        <pc:spChg chg="mod">
          <ac:chgData name="Timur Karimsakov" userId="ea04722c-9be7-49ff-9a17-c5a9c646d8a7" providerId="ADAL" clId="{3B2E2D3F-B308-483A-8E63-D702EB5B37B6}" dt="2024-06-12T10:17:22.886" v="97" actId="20577"/>
          <ac:spMkLst>
            <pc:docMk/>
            <pc:sldMk cId="3764251038" sldId="2268"/>
            <ac:spMk id="82" creationId="{2F6A6B7D-4DE6-E2C2-089C-3DD877A8FA91}"/>
          </ac:spMkLst>
        </pc:spChg>
        <pc:spChg chg="mod">
          <ac:chgData name="Timur Karimsakov" userId="ea04722c-9be7-49ff-9a17-c5a9c646d8a7" providerId="ADAL" clId="{3B2E2D3F-B308-483A-8E63-D702EB5B37B6}" dt="2024-06-12T10:18:08.860" v="109" actId="20577"/>
          <ac:spMkLst>
            <pc:docMk/>
            <pc:sldMk cId="3764251038" sldId="2268"/>
            <ac:spMk id="86" creationId="{9EF1E2AC-B7F0-9755-A337-6F10DC256FDC}"/>
          </ac:spMkLst>
        </pc:spChg>
        <pc:graphicFrameChg chg="del">
          <ac:chgData name="Timur Karimsakov" userId="ea04722c-9be7-49ff-9a17-c5a9c646d8a7" providerId="ADAL" clId="{3B2E2D3F-B308-483A-8E63-D702EB5B37B6}" dt="2024-06-12T10:11:10.799" v="0" actId="478"/>
          <ac:graphicFrameMkLst>
            <pc:docMk/>
            <pc:sldMk cId="3764251038" sldId="2268"/>
            <ac:graphicFrameMk id="5" creationId="{3E6C6600-33D6-BF57-11FA-FF0F8C61D929}"/>
          </ac:graphicFrameMkLst>
        </pc:graphicFrameChg>
        <pc:graphicFrameChg chg="add mod">
          <ac:chgData name="Timur Karimsakov" userId="ea04722c-9be7-49ff-9a17-c5a9c646d8a7" providerId="ADAL" clId="{3B2E2D3F-B308-483A-8E63-D702EB5B37B6}" dt="2024-06-12T10:11:48.893" v="4"/>
          <ac:graphicFrameMkLst>
            <pc:docMk/>
            <pc:sldMk cId="3764251038" sldId="2268"/>
            <ac:graphicFrameMk id="12" creationId="{B090D90C-73F6-B977-471D-5FDB8588A3CD}"/>
          </ac:graphicFrameMkLst>
        </pc:graphicFrameChg>
        <pc:graphicFrameChg chg="mod">
          <ac:chgData name="Timur Karimsakov" userId="ea04722c-9be7-49ff-9a17-c5a9c646d8a7" providerId="ADAL" clId="{3B2E2D3F-B308-483A-8E63-D702EB5B37B6}" dt="2024-06-12T10:11:13.893" v="2" actId="1076"/>
          <ac:graphicFrameMkLst>
            <pc:docMk/>
            <pc:sldMk cId="3764251038" sldId="2268"/>
            <ac:graphicFrameMk id="15" creationId="{FF87ACB7-435A-596F-99E5-E164909633CE}"/>
          </ac:graphicFrameMkLst>
        </pc:graphicFrameChg>
        <pc:cxnChg chg="add mod">
          <ac:chgData name="Timur Karimsakov" userId="ea04722c-9be7-49ff-9a17-c5a9c646d8a7" providerId="ADAL" clId="{3B2E2D3F-B308-483A-8E63-D702EB5B37B6}" dt="2024-06-12T10:11:48.893" v="4"/>
          <ac:cxnSpMkLst>
            <pc:docMk/>
            <pc:sldMk cId="3764251038" sldId="2268"/>
            <ac:cxnSpMk id="36" creationId="{F9570CC5-422B-F6AE-D174-FC326F18DBDD}"/>
          </ac:cxnSpMkLst>
        </pc:cxnChg>
        <pc:cxnChg chg="add mod">
          <ac:chgData name="Timur Karimsakov" userId="ea04722c-9be7-49ff-9a17-c5a9c646d8a7" providerId="ADAL" clId="{3B2E2D3F-B308-483A-8E63-D702EB5B37B6}" dt="2024-06-12T10:11:48.893" v="4"/>
          <ac:cxnSpMkLst>
            <pc:docMk/>
            <pc:sldMk cId="3764251038" sldId="2268"/>
            <ac:cxnSpMk id="37" creationId="{8FEBBE9E-E54D-B749-AD40-9C9102C94FFC}"/>
          </ac:cxnSpMkLst>
        </pc:cxnChg>
        <pc:cxnChg chg="add mod">
          <ac:chgData name="Timur Karimsakov" userId="ea04722c-9be7-49ff-9a17-c5a9c646d8a7" providerId="ADAL" clId="{3B2E2D3F-B308-483A-8E63-D702EB5B37B6}" dt="2024-06-12T10:11:48.893" v="4"/>
          <ac:cxnSpMkLst>
            <pc:docMk/>
            <pc:sldMk cId="3764251038" sldId="2268"/>
            <ac:cxnSpMk id="38" creationId="{3E6C50F2-2A20-A5D8-ED7F-D9765FEB7512}"/>
          </ac:cxnSpMkLst>
        </pc:cxnChg>
        <pc:cxnChg chg="add mod">
          <ac:chgData name="Timur Karimsakov" userId="ea04722c-9be7-49ff-9a17-c5a9c646d8a7" providerId="ADAL" clId="{3B2E2D3F-B308-483A-8E63-D702EB5B37B6}" dt="2024-06-12T10:11:48.893" v="4"/>
          <ac:cxnSpMkLst>
            <pc:docMk/>
            <pc:sldMk cId="3764251038" sldId="2268"/>
            <ac:cxnSpMk id="39" creationId="{08557A76-A1A5-0049-F6D0-38C0B9C6F3D2}"/>
          </ac:cxnSpMkLst>
        </pc:cxnChg>
        <pc:cxnChg chg="add mod">
          <ac:chgData name="Timur Karimsakov" userId="ea04722c-9be7-49ff-9a17-c5a9c646d8a7" providerId="ADAL" clId="{3B2E2D3F-B308-483A-8E63-D702EB5B37B6}" dt="2024-06-12T10:11:48.893" v="4"/>
          <ac:cxnSpMkLst>
            <pc:docMk/>
            <pc:sldMk cId="3764251038" sldId="2268"/>
            <ac:cxnSpMk id="42" creationId="{DA364F8F-DBAA-8CBD-ACEC-5181DC4BA4A6}"/>
          </ac:cxnSpMkLst>
        </pc:cxnChg>
        <pc:cxnChg chg="del">
          <ac:chgData name="Timur Karimsakov" userId="ea04722c-9be7-49ff-9a17-c5a9c646d8a7" providerId="ADAL" clId="{3B2E2D3F-B308-483A-8E63-D702EB5B37B6}" dt="2024-06-12T10:11:36.319" v="3" actId="478"/>
          <ac:cxnSpMkLst>
            <pc:docMk/>
            <pc:sldMk cId="3764251038" sldId="2268"/>
            <ac:cxnSpMk id="52" creationId="{A259BAD5-B3CC-B5A1-AE9C-997D7D471293}"/>
          </ac:cxnSpMkLst>
        </pc:cxnChg>
        <pc:cxnChg chg="del">
          <ac:chgData name="Timur Karimsakov" userId="ea04722c-9be7-49ff-9a17-c5a9c646d8a7" providerId="ADAL" clId="{3B2E2D3F-B308-483A-8E63-D702EB5B37B6}" dt="2024-06-12T10:11:36.319" v="3" actId="478"/>
          <ac:cxnSpMkLst>
            <pc:docMk/>
            <pc:sldMk cId="3764251038" sldId="2268"/>
            <ac:cxnSpMk id="53" creationId="{0B94E1C1-77CD-E1F7-EC63-96ED890FF6B4}"/>
          </ac:cxnSpMkLst>
        </pc:cxnChg>
        <pc:cxnChg chg="del">
          <ac:chgData name="Timur Karimsakov" userId="ea04722c-9be7-49ff-9a17-c5a9c646d8a7" providerId="ADAL" clId="{3B2E2D3F-B308-483A-8E63-D702EB5B37B6}" dt="2024-06-12T10:11:36.319" v="3" actId="478"/>
          <ac:cxnSpMkLst>
            <pc:docMk/>
            <pc:sldMk cId="3764251038" sldId="2268"/>
            <ac:cxnSpMk id="55" creationId="{0A93A958-29F3-5FBA-A0B3-395708525EA8}"/>
          </ac:cxnSpMkLst>
        </pc:cxnChg>
        <pc:cxnChg chg="del">
          <ac:chgData name="Timur Karimsakov" userId="ea04722c-9be7-49ff-9a17-c5a9c646d8a7" providerId="ADAL" clId="{3B2E2D3F-B308-483A-8E63-D702EB5B37B6}" dt="2024-06-12T10:11:36.319" v="3" actId="478"/>
          <ac:cxnSpMkLst>
            <pc:docMk/>
            <pc:sldMk cId="3764251038" sldId="2268"/>
            <ac:cxnSpMk id="56" creationId="{DDFF91AD-F3A8-BB97-0EDB-F098EEB84B6E}"/>
          </ac:cxnSpMkLst>
        </pc:cxnChg>
        <pc:cxnChg chg="del">
          <ac:chgData name="Timur Karimsakov" userId="ea04722c-9be7-49ff-9a17-c5a9c646d8a7" providerId="ADAL" clId="{3B2E2D3F-B308-483A-8E63-D702EB5B37B6}" dt="2024-06-12T10:11:36.319" v="3" actId="478"/>
          <ac:cxnSpMkLst>
            <pc:docMk/>
            <pc:sldMk cId="3764251038" sldId="2268"/>
            <ac:cxnSpMk id="59" creationId="{F763775F-DFDB-22A1-1A86-FE852997FA5C}"/>
          </ac:cxnSpMkLst>
        </pc:cxnChg>
      </pc:sldChg>
      <pc:sldChg chg="modSp mod">
        <pc:chgData name="Timur Karimsakov" userId="ea04722c-9be7-49ff-9a17-c5a9c646d8a7" providerId="ADAL" clId="{3B2E2D3F-B308-483A-8E63-D702EB5B37B6}" dt="2024-06-19T07:12:37.184" v="1193" actId="1076"/>
        <pc:sldMkLst>
          <pc:docMk/>
          <pc:sldMk cId="2575797221" sldId="2269"/>
        </pc:sldMkLst>
        <pc:spChg chg="mod">
          <ac:chgData name="Timur Karimsakov" userId="ea04722c-9be7-49ff-9a17-c5a9c646d8a7" providerId="ADAL" clId="{3B2E2D3F-B308-483A-8E63-D702EB5B37B6}" dt="2024-06-19T06:43:04.064" v="802" actId="20577"/>
          <ac:spMkLst>
            <pc:docMk/>
            <pc:sldMk cId="2575797221" sldId="2269"/>
            <ac:spMk id="6" creationId="{4D2D685B-956E-9715-3DAA-413C293BF497}"/>
          </ac:spMkLst>
        </pc:spChg>
        <pc:spChg chg="mod">
          <ac:chgData name="Timur Karimsakov" userId="ea04722c-9be7-49ff-9a17-c5a9c646d8a7" providerId="ADAL" clId="{3B2E2D3F-B308-483A-8E63-D702EB5B37B6}" dt="2024-06-19T06:45:26.839" v="808" actId="21"/>
          <ac:spMkLst>
            <pc:docMk/>
            <pc:sldMk cId="2575797221" sldId="2269"/>
            <ac:spMk id="11" creationId="{748D97E4-FB6F-E7CB-A0AE-D0D5AC81A423}"/>
          </ac:spMkLst>
        </pc:spChg>
        <pc:spChg chg="mod">
          <ac:chgData name="Timur Karimsakov" userId="ea04722c-9be7-49ff-9a17-c5a9c646d8a7" providerId="ADAL" clId="{3B2E2D3F-B308-483A-8E63-D702EB5B37B6}" dt="2024-06-19T06:46:14.187" v="831" actId="20577"/>
          <ac:spMkLst>
            <pc:docMk/>
            <pc:sldMk cId="2575797221" sldId="2269"/>
            <ac:spMk id="12" creationId="{A76CF317-8F68-B2F1-3D06-2EF2070A04BC}"/>
          </ac:spMkLst>
        </pc:spChg>
        <pc:spChg chg="mod">
          <ac:chgData name="Timur Karimsakov" userId="ea04722c-9be7-49ff-9a17-c5a9c646d8a7" providerId="ADAL" clId="{3B2E2D3F-B308-483A-8E63-D702EB5B37B6}" dt="2024-06-19T06:43:10.964" v="806" actId="20577"/>
          <ac:spMkLst>
            <pc:docMk/>
            <pc:sldMk cId="2575797221" sldId="2269"/>
            <ac:spMk id="22" creationId="{1F959469-4747-9E14-9895-BDBF7B7FE1B9}"/>
          </ac:spMkLst>
        </pc:spChg>
        <pc:spChg chg="mod">
          <ac:chgData name="Timur Karimsakov" userId="ea04722c-9be7-49ff-9a17-c5a9c646d8a7" providerId="ADAL" clId="{3B2E2D3F-B308-483A-8E63-D702EB5B37B6}" dt="2024-06-19T06:46:09.501" v="825" actId="20577"/>
          <ac:spMkLst>
            <pc:docMk/>
            <pc:sldMk cId="2575797221" sldId="2269"/>
            <ac:spMk id="38" creationId="{4A77129F-0CEE-7351-EC4A-9321C484638E}"/>
          </ac:spMkLst>
        </pc:spChg>
        <pc:spChg chg="mod">
          <ac:chgData name="Timur Karimsakov" userId="ea04722c-9be7-49ff-9a17-c5a9c646d8a7" providerId="ADAL" clId="{3B2E2D3F-B308-483A-8E63-D702EB5B37B6}" dt="2024-06-19T06:45:28.942" v="809"/>
          <ac:spMkLst>
            <pc:docMk/>
            <pc:sldMk cId="2575797221" sldId="2269"/>
            <ac:spMk id="40" creationId="{059BE8AB-FD6E-1DB3-FFF1-D53DE4C2F007}"/>
          </ac:spMkLst>
        </pc:spChg>
        <pc:spChg chg="mod">
          <ac:chgData name="Timur Karimsakov" userId="ea04722c-9be7-49ff-9a17-c5a9c646d8a7" providerId="ADAL" clId="{3B2E2D3F-B308-483A-8E63-D702EB5B37B6}" dt="2024-06-19T06:46:04.732" v="818" actId="20577"/>
          <ac:spMkLst>
            <pc:docMk/>
            <pc:sldMk cId="2575797221" sldId="2269"/>
            <ac:spMk id="41" creationId="{1B76418E-E0A3-2871-3BA1-41DE1238C80A}"/>
          </ac:spMkLst>
        </pc:spChg>
        <pc:spChg chg="mod">
          <ac:chgData name="Timur Karimsakov" userId="ea04722c-9be7-49ff-9a17-c5a9c646d8a7" providerId="ADAL" clId="{3B2E2D3F-B308-483A-8E63-D702EB5B37B6}" dt="2024-06-19T06:39:23.797" v="768"/>
          <ac:spMkLst>
            <pc:docMk/>
            <pc:sldMk cId="2575797221" sldId="2269"/>
            <ac:spMk id="44" creationId="{42055157-3FB9-B2DD-04E8-9BE44F1F2736}"/>
          </ac:spMkLst>
        </pc:spChg>
        <pc:spChg chg="mod">
          <ac:chgData name="Timur Karimsakov" userId="ea04722c-9be7-49ff-9a17-c5a9c646d8a7" providerId="ADAL" clId="{3B2E2D3F-B308-483A-8E63-D702EB5B37B6}" dt="2024-06-19T06:41:52.346" v="790" actId="20577"/>
          <ac:spMkLst>
            <pc:docMk/>
            <pc:sldMk cId="2575797221" sldId="2269"/>
            <ac:spMk id="45" creationId="{944499C0-9F55-32DD-B168-3DF315DDE32A}"/>
          </ac:spMkLst>
        </pc:spChg>
        <pc:spChg chg="mod">
          <ac:chgData name="Timur Karimsakov" userId="ea04722c-9be7-49ff-9a17-c5a9c646d8a7" providerId="ADAL" clId="{3B2E2D3F-B308-483A-8E63-D702EB5B37B6}" dt="2024-06-19T06:39:26.297" v="772" actId="20577"/>
          <ac:spMkLst>
            <pc:docMk/>
            <pc:sldMk cId="2575797221" sldId="2269"/>
            <ac:spMk id="47" creationId="{7CDA641A-90F2-0586-9EF4-2F29CFFCD52A}"/>
          </ac:spMkLst>
        </pc:spChg>
        <pc:spChg chg="mod">
          <ac:chgData name="Timur Karimsakov" userId="ea04722c-9be7-49ff-9a17-c5a9c646d8a7" providerId="ADAL" clId="{3B2E2D3F-B308-483A-8E63-D702EB5B37B6}" dt="2024-06-19T07:12:37.184" v="1193" actId="1076"/>
          <ac:spMkLst>
            <pc:docMk/>
            <pc:sldMk cId="2575797221" sldId="2269"/>
            <ac:spMk id="48" creationId="{711DEC4B-DAF1-CABF-F614-99639F21B7D9}"/>
          </ac:spMkLst>
        </pc:spChg>
        <pc:spChg chg="mod">
          <ac:chgData name="Timur Karimsakov" userId="ea04722c-9be7-49ff-9a17-c5a9c646d8a7" providerId="ADAL" clId="{3B2E2D3F-B308-483A-8E63-D702EB5B37B6}" dt="2024-06-19T06:39:34.004" v="781" actId="20577"/>
          <ac:spMkLst>
            <pc:docMk/>
            <pc:sldMk cId="2575797221" sldId="2269"/>
            <ac:spMk id="50" creationId="{C7654679-D958-FF89-D3DF-E026B4F18A57}"/>
          </ac:spMkLst>
        </pc:spChg>
        <pc:spChg chg="mod">
          <ac:chgData name="Timur Karimsakov" userId="ea04722c-9be7-49ff-9a17-c5a9c646d8a7" providerId="ADAL" clId="{3B2E2D3F-B308-483A-8E63-D702EB5B37B6}" dt="2024-06-19T06:42:01.675" v="792" actId="20577"/>
          <ac:spMkLst>
            <pc:docMk/>
            <pc:sldMk cId="2575797221" sldId="2269"/>
            <ac:spMk id="51" creationId="{7DBE0DEA-8478-9D58-6C91-3D2064B751E9}"/>
          </ac:spMkLst>
        </pc:spChg>
        <pc:spChg chg="mod">
          <ac:chgData name="Timur Karimsakov" userId="ea04722c-9be7-49ff-9a17-c5a9c646d8a7" providerId="ADAL" clId="{3B2E2D3F-B308-483A-8E63-D702EB5B37B6}" dt="2024-06-19T06:42:50.483" v="796" actId="20577"/>
          <ac:spMkLst>
            <pc:docMk/>
            <pc:sldMk cId="2575797221" sldId="2269"/>
            <ac:spMk id="53" creationId="{D5965B4C-A8D8-46F2-C547-CF686E2F5FE8}"/>
          </ac:spMkLst>
        </pc:spChg>
        <pc:spChg chg="mod">
          <ac:chgData name="Timur Karimsakov" userId="ea04722c-9be7-49ff-9a17-c5a9c646d8a7" providerId="ADAL" clId="{3B2E2D3F-B308-483A-8E63-D702EB5B37B6}" dt="2024-06-19T06:39:39.296" v="789" actId="20577"/>
          <ac:spMkLst>
            <pc:docMk/>
            <pc:sldMk cId="2575797221" sldId="2269"/>
            <ac:spMk id="54" creationId="{7FCAACB0-BE87-63B6-3F0F-422BAC2C2E3F}"/>
          </ac:spMkLst>
        </pc:spChg>
      </pc:sldChg>
      <pc:sldChg chg="addSp modSp mod">
        <pc:chgData name="Timur Karimsakov" userId="ea04722c-9be7-49ff-9a17-c5a9c646d8a7" providerId="ADAL" clId="{3B2E2D3F-B308-483A-8E63-D702EB5B37B6}" dt="2024-06-19T07:07:46.442" v="1149"/>
        <pc:sldMkLst>
          <pc:docMk/>
          <pc:sldMk cId="515681888" sldId="2270"/>
        </pc:sldMkLst>
        <pc:spChg chg="add mod">
          <ac:chgData name="Timur Karimsakov" userId="ea04722c-9be7-49ff-9a17-c5a9c646d8a7" providerId="ADAL" clId="{3B2E2D3F-B308-483A-8E63-D702EB5B37B6}" dt="2024-06-19T07:04:35.476" v="1121" actId="1037"/>
          <ac:spMkLst>
            <pc:docMk/>
            <pc:sldMk cId="515681888" sldId="2270"/>
            <ac:spMk id="2" creationId="{A3D29DA0-E5C6-A969-35E4-590EF97E3BF9}"/>
          </ac:spMkLst>
        </pc:spChg>
        <pc:spChg chg="mod">
          <ac:chgData name="Timur Karimsakov" userId="ea04722c-9be7-49ff-9a17-c5a9c646d8a7" providerId="ADAL" clId="{3B2E2D3F-B308-483A-8E63-D702EB5B37B6}" dt="2024-06-19T07:04:16.754" v="1081" actId="1076"/>
          <ac:spMkLst>
            <pc:docMk/>
            <pc:sldMk cId="515681888" sldId="2270"/>
            <ac:spMk id="4" creationId="{5DF7C733-4DE3-3DB1-3478-8BF965158061}"/>
          </ac:spMkLst>
        </pc:spChg>
        <pc:spChg chg="mod">
          <ac:chgData name="Timur Karimsakov" userId="ea04722c-9be7-49ff-9a17-c5a9c646d8a7" providerId="ADAL" clId="{3B2E2D3F-B308-483A-8E63-D702EB5B37B6}" dt="2024-06-19T07:02:48.826" v="994" actId="1037"/>
          <ac:spMkLst>
            <pc:docMk/>
            <pc:sldMk cId="515681888" sldId="2270"/>
            <ac:spMk id="6" creationId="{0D248B02-CFFF-7BB0-5656-0E815B09FD4F}"/>
          </ac:spMkLst>
        </pc:spChg>
        <pc:spChg chg="mod">
          <ac:chgData name="Timur Karimsakov" userId="ea04722c-9be7-49ff-9a17-c5a9c646d8a7" providerId="ADAL" clId="{3B2E2D3F-B308-483A-8E63-D702EB5B37B6}" dt="2024-06-19T07:04:29.982" v="1109" actId="1037"/>
          <ac:spMkLst>
            <pc:docMk/>
            <pc:sldMk cId="515681888" sldId="2270"/>
            <ac:spMk id="7" creationId="{573F0A31-3BA6-D95F-CE15-3CD5796C9609}"/>
          </ac:spMkLst>
        </pc:spChg>
        <pc:spChg chg="mod">
          <ac:chgData name="Timur Karimsakov" userId="ea04722c-9be7-49ff-9a17-c5a9c646d8a7" providerId="ADAL" clId="{3B2E2D3F-B308-483A-8E63-D702EB5B37B6}" dt="2024-06-19T07:03:39.779" v="1008" actId="1037"/>
          <ac:spMkLst>
            <pc:docMk/>
            <pc:sldMk cId="515681888" sldId="2270"/>
            <ac:spMk id="8" creationId="{5FB2B10B-8A3F-07EF-CD24-F24A59442658}"/>
          </ac:spMkLst>
        </pc:spChg>
        <pc:spChg chg="mod">
          <ac:chgData name="Timur Karimsakov" userId="ea04722c-9be7-49ff-9a17-c5a9c646d8a7" providerId="ADAL" clId="{3B2E2D3F-B308-483A-8E63-D702EB5B37B6}" dt="2024-06-19T07:03:42.717" v="1015" actId="1037"/>
          <ac:spMkLst>
            <pc:docMk/>
            <pc:sldMk cId="515681888" sldId="2270"/>
            <ac:spMk id="9" creationId="{96D9F33A-C69C-2110-4CA9-14C69704658E}"/>
          </ac:spMkLst>
        </pc:spChg>
        <pc:spChg chg="mod">
          <ac:chgData name="Timur Karimsakov" userId="ea04722c-9be7-49ff-9a17-c5a9c646d8a7" providerId="ADAL" clId="{3B2E2D3F-B308-483A-8E63-D702EB5B37B6}" dt="2024-06-19T07:03:45.761" v="1025" actId="1037"/>
          <ac:spMkLst>
            <pc:docMk/>
            <pc:sldMk cId="515681888" sldId="2270"/>
            <ac:spMk id="10" creationId="{7B7FEB6E-BF99-6FFE-48E8-4BEA45172F29}"/>
          </ac:spMkLst>
        </pc:spChg>
        <pc:spChg chg="mod">
          <ac:chgData name="Timur Karimsakov" userId="ea04722c-9be7-49ff-9a17-c5a9c646d8a7" providerId="ADAL" clId="{3B2E2D3F-B308-483A-8E63-D702EB5B37B6}" dt="2024-06-19T07:03:49.736" v="1032" actId="1037"/>
          <ac:spMkLst>
            <pc:docMk/>
            <pc:sldMk cId="515681888" sldId="2270"/>
            <ac:spMk id="11" creationId="{C6965CAC-3C8D-76FC-5C2F-18761BFD6020}"/>
          </ac:spMkLst>
        </pc:spChg>
        <pc:spChg chg="mod">
          <ac:chgData name="Timur Karimsakov" userId="ea04722c-9be7-49ff-9a17-c5a9c646d8a7" providerId="ADAL" clId="{3B2E2D3F-B308-483A-8E63-D702EB5B37B6}" dt="2024-06-19T07:03:53.027" v="1039" actId="1037"/>
          <ac:spMkLst>
            <pc:docMk/>
            <pc:sldMk cId="515681888" sldId="2270"/>
            <ac:spMk id="12" creationId="{868B19A3-723C-AE75-B4A7-2A827336010B}"/>
          </ac:spMkLst>
        </pc:spChg>
        <pc:spChg chg="mod">
          <ac:chgData name="Timur Karimsakov" userId="ea04722c-9be7-49ff-9a17-c5a9c646d8a7" providerId="ADAL" clId="{3B2E2D3F-B308-483A-8E63-D702EB5B37B6}" dt="2024-06-19T07:03:55.798" v="1044" actId="1037"/>
          <ac:spMkLst>
            <pc:docMk/>
            <pc:sldMk cId="515681888" sldId="2270"/>
            <ac:spMk id="13" creationId="{E4F751C4-17D8-4DDB-6AFC-2DCC3170F560}"/>
          </ac:spMkLst>
        </pc:spChg>
        <pc:spChg chg="mod">
          <ac:chgData name="Timur Karimsakov" userId="ea04722c-9be7-49ff-9a17-c5a9c646d8a7" providerId="ADAL" clId="{3B2E2D3F-B308-483A-8E63-D702EB5B37B6}" dt="2024-06-19T07:03:59.980" v="1051" actId="1037"/>
          <ac:spMkLst>
            <pc:docMk/>
            <pc:sldMk cId="515681888" sldId="2270"/>
            <ac:spMk id="14" creationId="{80530392-F1D2-9609-57F0-D13ED74EAD65}"/>
          </ac:spMkLst>
        </pc:spChg>
        <pc:spChg chg="mod">
          <ac:chgData name="Timur Karimsakov" userId="ea04722c-9be7-49ff-9a17-c5a9c646d8a7" providerId="ADAL" clId="{3B2E2D3F-B308-483A-8E63-D702EB5B37B6}" dt="2024-06-19T07:04:04.068" v="1061" actId="1038"/>
          <ac:spMkLst>
            <pc:docMk/>
            <pc:sldMk cId="515681888" sldId="2270"/>
            <ac:spMk id="15" creationId="{32B225BE-F781-46E1-8780-94FDFABAFC25}"/>
          </ac:spMkLst>
        </pc:spChg>
        <pc:spChg chg="mod">
          <ac:chgData name="Timur Karimsakov" userId="ea04722c-9be7-49ff-9a17-c5a9c646d8a7" providerId="ADAL" clId="{3B2E2D3F-B308-483A-8E63-D702EB5B37B6}" dt="2024-06-19T07:04:07.609" v="1070" actId="1037"/>
          <ac:spMkLst>
            <pc:docMk/>
            <pc:sldMk cId="515681888" sldId="2270"/>
            <ac:spMk id="16" creationId="{8FB28E0C-E340-24A1-ECB6-CF25782E4F86}"/>
          </ac:spMkLst>
        </pc:spChg>
        <pc:spChg chg="mod">
          <ac:chgData name="Timur Karimsakov" userId="ea04722c-9be7-49ff-9a17-c5a9c646d8a7" providerId="ADAL" clId="{3B2E2D3F-B308-483A-8E63-D702EB5B37B6}" dt="2024-06-19T07:04:46.414" v="1122" actId="1076"/>
          <ac:spMkLst>
            <pc:docMk/>
            <pc:sldMk cId="515681888" sldId="2270"/>
            <ac:spMk id="17" creationId="{16E6CBE0-72C0-31D6-6214-1D0E2527598F}"/>
          </ac:spMkLst>
        </pc:spChg>
        <pc:spChg chg="mod">
          <ac:chgData name="Timur Karimsakov" userId="ea04722c-9be7-49ff-9a17-c5a9c646d8a7" providerId="ADAL" clId="{3B2E2D3F-B308-483A-8E63-D702EB5B37B6}" dt="2024-06-19T07:04:20.296" v="1088" actId="1037"/>
          <ac:spMkLst>
            <pc:docMk/>
            <pc:sldMk cId="515681888" sldId="2270"/>
            <ac:spMk id="18" creationId="{1F589377-83F5-B74C-8F52-E6B543001B3E}"/>
          </ac:spMkLst>
        </pc:spChg>
        <pc:spChg chg="mod">
          <ac:chgData name="Timur Karimsakov" userId="ea04722c-9be7-49ff-9a17-c5a9c646d8a7" providerId="ADAL" clId="{3B2E2D3F-B308-483A-8E63-D702EB5B37B6}" dt="2024-06-19T07:04:24.776" v="1097" actId="1038"/>
          <ac:spMkLst>
            <pc:docMk/>
            <pc:sldMk cId="515681888" sldId="2270"/>
            <ac:spMk id="25" creationId="{6E03C99C-9998-1427-9622-CB18B4C2EAB1}"/>
          </ac:spMkLst>
        </pc:spChg>
        <pc:spChg chg="mod">
          <ac:chgData name="Timur Karimsakov" userId="ea04722c-9be7-49ff-9a17-c5a9c646d8a7" providerId="ADAL" clId="{3B2E2D3F-B308-483A-8E63-D702EB5B37B6}" dt="2024-06-19T07:02:28.141" v="991" actId="408"/>
          <ac:spMkLst>
            <pc:docMk/>
            <pc:sldMk cId="515681888" sldId="2270"/>
            <ac:spMk id="34" creationId="{B2223C7B-A2FD-A7BF-9FCA-DB5320C8835D}"/>
          </ac:spMkLst>
        </pc:spChg>
        <pc:graphicFrameChg chg="mod">
          <ac:chgData name="Timur Karimsakov" userId="ea04722c-9be7-49ff-9a17-c5a9c646d8a7" providerId="ADAL" clId="{3B2E2D3F-B308-483A-8E63-D702EB5B37B6}" dt="2024-06-19T07:07:46.442" v="1149"/>
          <ac:graphicFrameMkLst>
            <pc:docMk/>
            <pc:sldMk cId="515681888" sldId="2270"/>
            <ac:graphicFrameMk id="3" creationId="{6EFFBB75-134A-41F2-8DFC-F0211B0DC23C}"/>
          </ac:graphicFrameMkLst>
        </pc:graphicFrameChg>
        <pc:cxnChg chg="mod">
          <ac:chgData name="Timur Karimsakov" userId="ea04722c-9be7-49ff-9a17-c5a9c646d8a7" providerId="ADAL" clId="{3B2E2D3F-B308-483A-8E63-D702EB5B37B6}" dt="2024-06-19T07:02:28.141" v="991" actId="408"/>
          <ac:cxnSpMkLst>
            <pc:docMk/>
            <pc:sldMk cId="515681888" sldId="2270"/>
            <ac:cxnSpMk id="33" creationId="{AAADFA70-66AF-3B83-5071-51FB9118FCE8}"/>
          </ac:cxnSpMkLst>
        </pc:cxnChg>
      </pc:sldChg>
    </pc:docChg>
  </pc:docChgLst>
  <pc:docChgLst>
    <pc:chgData name="Altair Bekturov" userId="f1c9077e-fbd1-4d3f-8125-f3628bf5133d" providerId="ADAL" clId="{2EE9BDA3-CBD1-4555-B217-9ADEF35C3D94}"/>
    <pc:docChg chg="modSld">
      <pc:chgData name="Altair Bekturov" userId="f1c9077e-fbd1-4d3f-8125-f3628bf5133d" providerId="ADAL" clId="{2EE9BDA3-CBD1-4555-B217-9ADEF35C3D94}" dt="2024-06-21T09:31:59.924" v="13" actId="20577"/>
      <pc:docMkLst>
        <pc:docMk/>
      </pc:docMkLst>
      <pc:sldChg chg="modSp mod">
        <pc:chgData name="Altair Bekturov" userId="f1c9077e-fbd1-4d3f-8125-f3628bf5133d" providerId="ADAL" clId="{2EE9BDA3-CBD1-4555-B217-9ADEF35C3D94}" dt="2024-06-21T09:31:59.924" v="13" actId="20577"/>
        <pc:sldMkLst>
          <pc:docMk/>
          <pc:sldMk cId="781584985" sldId="2266"/>
        </pc:sldMkLst>
        <pc:spChg chg="mod">
          <ac:chgData name="Altair Bekturov" userId="f1c9077e-fbd1-4d3f-8125-f3628bf5133d" providerId="ADAL" clId="{2EE9BDA3-CBD1-4555-B217-9ADEF35C3D94}" dt="2024-06-21T09:31:59.924" v="13" actId="20577"/>
          <ac:spMkLst>
            <pc:docMk/>
            <pc:sldMk cId="781584985" sldId="2266"/>
            <ac:spMk id="2" creationId="{BD2CB8FC-6BA7-8072-C621-DF5C7DA19DDD}"/>
          </ac:spMkLst>
        </pc:spChg>
      </pc:sldChg>
    </pc:docChg>
  </pc:docChgLst>
  <pc:docChgLst>
    <pc:chgData name="Timur Karimsakov" userId="ea04722c-9be7-49ff-9a17-c5a9c646d8a7" providerId="ADAL" clId="{7E6D9E73-6517-4564-A367-6425B5557C17}"/>
    <pc:docChg chg="undo custSel addSld delSld modSld">
      <pc:chgData name="Timur Karimsakov" userId="ea04722c-9be7-49ff-9a17-c5a9c646d8a7" providerId="ADAL" clId="{7E6D9E73-6517-4564-A367-6425B5557C17}" dt="2024-11-27T06:27:29.366" v="1489" actId="14100"/>
      <pc:docMkLst>
        <pc:docMk/>
      </pc:docMkLst>
      <pc:sldChg chg="modSp mod">
        <pc:chgData name="Timur Karimsakov" userId="ea04722c-9be7-49ff-9a17-c5a9c646d8a7" providerId="ADAL" clId="{7E6D9E73-6517-4564-A367-6425B5557C17}" dt="2024-11-26T11:34:41.027" v="24" actId="20577"/>
        <pc:sldMkLst>
          <pc:docMk/>
          <pc:sldMk cId="15871163" sldId="257"/>
        </pc:sldMkLst>
        <pc:spChg chg="mod">
          <ac:chgData name="Timur Karimsakov" userId="ea04722c-9be7-49ff-9a17-c5a9c646d8a7" providerId="ADAL" clId="{7E6D9E73-6517-4564-A367-6425B5557C17}" dt="2024-11-26T11:34:41.027" v="24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modSp mod">
        <pc:chgData name="Timur Karimsakov" userId="ea04722c-9be7-49ff-9a17-c5a9c646d8a7" providerId="ADAL" clId="{7E6D9E73-6517-4564-A367-6425B5557C17}" dt="2024-11-26T12:33:00.098" v="982" actId="20577"/>
        <pc:sldMkLst>
          <pc:docMk/>
          <pc:sldMk cId="4078718328" sldId="2184"/>
        </pc:sldMkLst>
        <pc:spChg chg="mod">
          <ac:chgData name="Timur Karimsakov" userId="ea04722c-9be7-49ff-9a17-c5a9c646d8a7" providerId="ADAL" clId="{7E6D9E73-6517-4564-A367-6425B5557C17}" dt="2024-11-26T12:32:16.272" v="954" actId="1035"/>
          <ac:spMkLst>
            <pc:docMk/>
            <pc:sldMk cId="4078718328" sldId="2184"/>
            <ac:spMk id="2" creationId="{CE6236F5-7F09-1A5B-F594-337A4613C3F0}"/>
          </ac:spMkLst>
        </pc:spChg>
        <pc:spChg chg="mod">
          <ac:chgData name="Timur Karimsakov" userId="ea04722c-9be7-49ff-9a17-c5a9c646d8a7" providerId="ADAL" clId="{7E6D9E73-6517-4564-A367-6425B5557C17}" dt="2024-11-26T12:33:00.098" v="982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Timur Karimsakov" userId="ea04722c-9be7-49ff-9a17-c5a9c646d8a7" providerId="ADAL" clId="{7E6D9E73-6517-4564-A367-6425B5557C17}" dt="2024-11-26T12:30:18.800" v="876" actId="20577"/>
          <ac:spMkLst>
            <pc:docMk/>
            <pc:sldMk cId="4078718328" sldId="2184"/>
            <ac:spMk id="14" creationId="{BD5CC2B5-7AC2-AC81-7D04-76E8DBC10147}"/>
          </ac:spMkLst>
        </pc:spChg>
        <pc:spChg chg="mod">
          <ac:chgData name="Timur Karimsakov" userId="ea04722c-9be7-49ff-9a17-c5a9c646d8a7" providerId="ADAL" clId="{7E6D9E73-6517-4564-A367-6425B5557C17}" dt="2024-11-26T12:32:08.340" v="944" actId="1035"/>
          <ac:spMkLst>
            <pc:docMk/>
            <pc:sldMk cId="4078718328" sldId="2184"/>
            <ac:spMk id="19" creationId="{1E1E9373-97B6-3891-1208-041BD7411038}"/>
          </ac:spMkLst>
        </pc:spChg>
        <pc:spChg chg="mod">
          <ac:chgData name="Timur Karimsakov" userId="ea04722c-9be7-49ff-9a17-c5a9c646d8a7" providerId="ADAL" clId="{7E6D9E73-6517-4564-A367-6425B5557C17}" dt="2024-11-26T12:31:58.798" v="927" actId="1076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Timur Karimsakov" userId="ea04722c-9be7-49ff-9a17-c5a9c646d8a7" providerId="ADAL" clId="{7E6D9E73-6517-4564-A367-6425B5557C17}" dt="2024-11-26T12:32:05.026" v="937" actId="1035"/>
          <ac:spMkLst>
            <pc:docMk/>
            <pc:sldMk cId="4078718328" sldId="2184"/>
            <ac:spMk id="23" creationId="{6A40FC35-7537-C90D-C0D6-C521A603A37E}"/>
          </ac:spMkLst>
        </pc:spChg>
        <pc:spChg chg="mod">
          <ac:chgData name="Timur Karimsakov" userId="ea04722c-9be7-49ff-9a17-c5a9c646d8a7" providerId="ADAL" clId="{7E6D9E73-6517-4564-A367-6425B5557C17}" dt="2024-11-26T12:32:20.153" v="957" actId="1035"/>
          <ac:spMkLst>
            <pc:docMk/>
            <pc:sldMk cId="4078718328" sldId="2184"/>
            <ac:spMk id="25" creationId="{760095B9-C0E5-3C10-2E30-18E3DF0AFAF2}"/>
          </ac:spMkLst>
        </pc:spChg>
        <pc:spChg chg="mod">
          <ac:chgData name="Timur Karimsakov" userId="ea04722c-9be7-49ff-9a17-c5a9c646d8a7" providerId="ADAL" clId="{7E6D9E73-6517-4564-A367-6425B5557C17}" dt="2024-11-26T12:32:01.567" v="928" actId="1036"/>
          <ac:spMkLst>
            <pc:docMk/>
            <pc:sldMk cId="4078718328" sldId="2184"/>
            <ac:spMk id="26" creationId="{830276EE-0FFE-9C29-C177-1DB5B7C376A3}"/>
          </ac:spMkLst>
        </pc:spChg>
        <pc:spChg chg="mod">
          <ac:chgData name="Timur Karimsakov" userId="ea04722c-9be7-49ff-9a17-c5a9c646d8a7" providerId="ADAL" clId="{7E6D9E73-6517-4564-A367-6425B5557C17}" dt="2024-11-26T12:31:14.410" v="901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Timur Karimsakov" userId="ea04722c-9be7-49ff-9a17-c5a9c646d8a7" providerId="ADAL" clId="{7E6D9E73-6517-4564-A367-6425B5557C17}" dt="2024-11-26T12:31:26.979" v="918" actId="20577"/>
          <ac:spMkLst>
            <pc:docMk/>
            <pc:sldMk cId="4078718328" sldId="2184"/>
            <ac:spMk id="31" creationId="{1B43C88C-97F7-E43F-2336-6CFB022A3A87}"/>
          </ac:spMkLst>
        </pc:spChg>
      </pc:sldChg>
      <pc:sldChg chg="modSp mod">
        <pc:chgData name="Timur Karimsakov" userId="ea04722c-9be7-49ff-9a17-c5a9c646d8a7" providerId="ADAL" clId="{7E6D9E73-6517-4564-A367-6425B5557C17}" dt="2024-11-26T12:44:37.098" v="1299" actId="27918"/>
        <pc:sldMkLst>
          <pc:docMk/>
          <pc:sldMk cId="2298565077" sldId="2186"/>
        </pc:sldMkLst>
        <pc:spChg chg="mod">
          <ac:chgData name="Timur Karimsakov" userId="ea04722c-9be7-49ff-9a17-c5a9c646d8a7" providerId="ADAL" clId="{7E6D9E73-6517-4564-A367-6425B5557C17}" dt="2024-11-26T12:43:47.041" v="1237" actId="1035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Timur Karimsakov" userId="ea04722c-9be7-49ff-9a17-c5a9c646d8a7" providerId="ADAL" clId="{7E6D9E73-6517-4564-A367-6425B5557C17}" dt="2024-11-26T12:43:07.774" v="1210" actId="20577"/>
          <ac:spMkLst>
            <pc:docMk/>
            <pc:sldMk cId="2298565077" sldId="2186"/>
            <ac:spMk id="6" creationId="{90BE8CD8-94C1-7202-0DBE-3853E3A66AD5}"/>
          </ac:spMkLst>
        </pc:spChg>
        <pc:spChg chg="mod">
          <ac:chgData name="Timur Karimsakov" userId="ea04722c-9be7-49ff-9a17-c5a9c646d8a7" providerId="ADAL" clId="{7E6D9E73-6517-4564-A367-6425B5557C17}" dt="2024-11-26T12:43:15.055" v="1222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Timur Karimsakov" userId="ea04722c-9be7-49ff-9a17-c5a9c646d8a7" providerId="ADAL" clId="{7E6D9E73-6517-4564-A367-6425B5557C17}" dt="2024-11-26T12:42:54.704" v="1206" actId="20577"/>
          <ac:spMkLst>
            <pc:docMk/>
            <pc:sldMk cId="2298565077" sldId="2186"/>
            <ac:spMk id="9" creationId="{FB0CAE96-5F9C-ACCC-9EFD-BFC6551FC96D}"/>
          </ac:spMkLst>
        </pc:spChg>
        <pc:spChg chg="mod">
          <ac:chgData name="Timur Karimsakov" userId="ea04722c-9be7-49ff-9a17-c5a9c646d8a7" providerId="ADAL" clId="{7E6D9E73-6517-4564-A367-6425B5557C17}" dt="2024-11-26T12:44:13.974" v="1294" actId="1035"/>
          <ac:spMkLst>
            <pc:docMk/>
            <pc:sldMk cId="2298565077" sldId="2186"/>
            <ac:spMk id="15" creationId="{1B196EA7-439E-0271-9871-8455A5EEC67A}"/>
          </ac:spMkLst>
        </pc:spChg>
        <pc:spChg chg="mod">
          <ac:chgData name="Timur Karimsakov" userId="ea04722c-9be7-49ff-9a17-c5a9c646d8a7" providerId="ADAL" clId="{7E6D9E73-6517-4564-A367-6425B5557C17}" dt="2024-11-26T12:44:09.148" v="1282" actId="1038"/>
          <ac:spMkLst>
            <pc:docMk/>
            <pc:sldMk cId="2298565077" sldId="2186"/>
            <ac:spMk id="16" creationId="{6A9A99B5-2D07-5E57-5D08-7AE2404145B6}"/>
          </ac:spMkLst>
        </pc:spChg>
        <pc:spChg chg="mod">
          <ac:chgData name="Timur Karimsakov" userId="ea04722c-9be7-49ff-9a17-c5a9c646d8a7" providerId="ADAL" clId="{7E6D9E73-6517-4564-A367-6425B5557C17}" dt="2024-11-26T12:44:04.536" v="1268" actId="1035"/>
          <ac:spMkLst>
            <pc:docMk/>
            <pc:sldMk cId="2298565077" sldId="2186"/>
            <ac:spMk id="17" creationId="{C6D80B88-1D1A-5302-B59F-5F0F6C30A810}"/>
          </ac:spMkLst>
        </pc:spChg>
        <pc:spChg chg="mod">
          <ac:chgData name="Timur Karimsakov" userId="ea04722c-9be7-49ff-9a17-c5a9c646d8a7" providerId="ADAL" clId="{7E6D9E73-6517-4564-A367-6425B5557C17}" dt="2024-11-26T12:43:59.070" v="1254" actId="1035"/>
          <ac:spMkLst>
            <pc:docMk/>
            <pc:sldMk cId="2298565077" sldId="2186"/>
            <ac:spMk id="18" creationId="{2E58206E-6AF1-9A7B-B393-446E8D73898B}"/>
          </ac:spMkLst>
        </pc:spChg>
        <pc:spChg chg="mod">
          <ac:chgData name="Timur Karimsakov" userId="ea04722c-9be7-49ff-9a17-c5a9c646d8a7" providerId="ADAL" clId="{7E6D9E73-6517-4564-A367-6425B5557C17}" dt="2024-11-26T12:43:49.840" v="1239" actId="1035"/>
          <ac:spMkLst>
            <pc:docMk/>
            <pc:sldMk cId="2298565077" sldId="2186"/>
            <ac:spMk id="19" creationId="{57D98D88-CFF5-0777-DAC4-4007F9EA6891}"/>
          </ac:spMkLst>
        </pc:spChg>
      </pc:sldChg>
      <pc:sldChg chg="modSp mod">
        <pc:chgData name="Timur Karimsakov" userId="ea04722c-9be7-49ff-9a17-c5a9c646d8a7" providerId="ADAL" clId="{7E6D9E73-6517-4564-A367-6425B5557C17}" dt="2024-11-26T12:41:36.929" v="1178" actId="20577"/>
        <pc:sldMkLst>
          <pc:docMk/>
          <pc:sldMk cId="1727869833" sldId="2187"/>
        </pc:sldMkLst>
        <pc:spChg chg="mod">
          <ac:chgData name="Timur Karimsakov" userId="ea04722c-9be7-49ff-9a17-c5a9c646d8a7" providerId="ADAL" clId="{7E6D9E73-6517-4564-A367-6425B5557C17}" dt="2024-11-26T12:37:03.411" v="1050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Timur Karimsakov" userId="ea04722c-9be7-49ff-9a17-c5a9c646d8a7" providerId="ADAL" clId="{7E6D9E73-6517-4564-A367-6425B5557C17}" dt="2024-11-26T12:37:11.880" v="1057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Timur Karimsakov" userId="ea04722c-9be7-49ff-9a17-c5a9c646d8a7" providerId="ADAL" clId="{7E6D9E73-6517-4564-A367-6425B5557C17}" dt="2024-11-26T12:41:36.929" v="1178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Timur Karimsakov" userId="ea04722c-9be7-49ff-9a17-c5a9c646d8a7" providerId="ADAL" clId="{7E6D9E73-6517-4564-A367-6425B5557C17}" dt="2024-11-26T12:40:19.538" v="1137" actId="1035"/>
          <ac:spMkLst>
            <pc:docMk/>
            <pc:sldMk cId="1727869833" sldId="2187"/>
            <ac:spMk id="12" creationId="{23C194AB-A775-7357-170B-8E98BDA1B600}"/>
          </ac:spMkLst>
        </pc:spChg>
        <pc:spChg chg="mod">
          <ac:chgData name="Timur Karimsakov" userId="ea04722c-9be7-49ff-9a17-c5a9c646d8a7" providerId="ADAL" clId="{7E6D9E73-6517-4564-A367-6425B5557C17}" dt="2024-11-26T12:40:16.702" v="1127" actId="1035"/>
          <ac:spMkLst>
            <pc:docMk/>
            <pc:sldMk cId="1727869833" sldId="2187"/>
            <ac:spMk id="20" creationId="{038E44EC-AB29-FFE0-4450-6758E81086EA}"/>
          </ac:spMkLst>
        </pc:spChg>
        <pc:spChg chg="mod">
          <ac:chgData name="Timur Karimsakov" userId="ea04722c-9be7-49ff-9a17-c5a9c646d8a7" providerId="ADAL" clId="{7E6D9E73-6517-4564-A367-6425B5557C17}" dt="2024-11-26T12:40:12.994" v="1117" actId="1036"/>
          <ac:spMkLst>
            <pc:docMk/>
            <pc:sldMk cId="1727869833" sldId="2187"/>
            <ac:spMk id="23" creationId="{BBF2915C-C063-7E7B-A310-75F3715BEE63}"/>
          </ac:spMkLst>
        </pc:spChg>
        <pc:spChg chg="mod">
          <ac:chgData name="Timur Karimsakov" userId="ea04722c-9be7-49ff-9a17-c5a9c646d8a7" providerId="ADAL" clId="{7E6D9E73-6517-4564-A367-6425B5557C17}" dt="2024-11-26T12:40:09.868" v="1105" actId="1036"/>
          <ac:spMkLst>
            <pc:docMk/>
            <pc:sldMk cId="1727869833" sldId="2187"/>
            <ac:spMk id="24" creationId="{22B11BDB-CDE9-3869-1877-5C0FC292CB12}"/>
          </ac:spMkLst>
        </pc:spChg>
        <pc:spChg chg="mod">
          <ac:chgData name="Timur Karimsakov" userId="ea04722c-9be7-49ff-9a17-c5a9c646d8a7" providerId="ADAL" clId="{7E6D9E73-6517-4564-A367-6425B5557C17}" dt="2024-11-26T12:40:06.882" v="1104" actId="1036"/>
          <ac:spMkLst>
            <pc:docMk/>
            <pc:sldMk cId="1727869833" sldId="2187"/>
            <ac:spMk id="25" creationId="{C58490BC-7749-B796-7711-784F36DC5639}"/>
          </ac:spMkLst>
        </pc:spChg>
        <pc:spChg chg="mod">
          <ac:chgData name="Timur Karimsakov" userId="ea04722c-9be7-49ff-9a17-c5a9c646d8a7" providerId="ADAL" clId="{7E6D9E73-6517-4564-A367-6425B5557C17}" dt="2024-11-26T12:40:01.555" v="1101" actId="1037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7E6D9E73-6517-4564-A367-6425B5557C17}" dt="2024-11-26T12:39:21.315" v="1081" actId="20577"/>
          <ac:spMkLst>
            <pc:docMk/>
            <pc:sldMk cId="1727869833" sldId="2187"/>
            <ac:spMk id="30" creationId="{1EF8A265-7911-B274-2E61-42A4C8C332CC}"/>
          </ac:spMkLst>
        </pc:spChg>
        <pc:graphicFrameChg chg="mod">
          <ac:chgData name="Timur Karimsakov" userId="ea04722c-9be7-49ff-9a17-c5a9c646d8a7" providerId="ADAL" clId="{7E6D9E73-6517-4564-A367-6425B5557C17}" dt="2024-11-26T12:37:42.178" v="1064" actId="20577"/>
          <ac:graphicFrameMkLst>
            <pc:docMk/>
            <pc:sldMk cId="1727869833" sldId="2187"/>
            <ac:graphicFrameMk id="13" creationId="{D74FCFA6-CF5E-699E-F310-9A0E9ED74270}"/>
          </ac:graphicFrameMkLst>
        </pc:graphicFrameChg>
      </pc:sldChg>
      <pc:sldChg chg="addSp delSp modSp mod">
        <pc:chgData name="Timur Karimsakov" userId="ea04722c-9be7-49ff-9a17-c5a9c646d8a7" providerId="ADAL" clId="{7E6D9E73-6517-4564-A367-6425B5557C17}" dt="2024-11-27T06:27:29.366" v="1489" actId="14100"/>
        <pc:sldMkLst>
          <pc:docMk/>
          <pc:sldMk cId="3240899165" sldId="2212"/>
        </pc:sldMkLst>
        <pc:spChg chg="mod">
          <ac:chgData name="Timur Karimsakov" userId="ea04722c-9be7-49ff-9a17-c5a9c646d8a7" providerId="ADAL" clId="{7E6D9E73-6517-4564-A367-6425B5557C17}" dt="2024-11-27T06:27:06.661" v="1478" actId="20577"/>
          <ac:spMkLst>
            <pc:docMk/>
            <pc:sldMk cId="3240899165" sldId="2212"/>
            <ac:spMk id="6" creationId="{4D2D685B-956E-9715-3DAA-413C293BF497}"/>
          </ac:spMkLst>
        </pc:spChg>
        <pc:spChg chg="mod">
          <ac:chgData name="Timur Karimsakov" userId="ea04722c-9be7-49ff-9a17-c5a9c646d8a7" providerId="ADAL" clId="{7E6D9E73-6517-4564-A367-6425B5557C17}" dt="2024-11-26T12:36:27.826" v="1044" actId="20577"/>
          <ac:spMkLst>
            <pc:docMk/>
            <pc:sldMk cId="3240899165" sldId="2212"/>
            <ac:spMk id="11" creationId="{748D97E4-FB6F-E7CB-A0AE-D0D5AC81A423}"/>
          </ac:spMkLst>
        </pc:spChg>
        <pc:spChg chg="mod">
          <ac:chgData name="Timur Karimsakov" userId="ea04722c-9be7-49ff-9a17-c5a9c646d8a7" providerId="ADAL" clId="{7E6D9E73-6517-4564-A367-6425B5557C17}" dt="2024-11-27T06:27:13.631" v="1483" actId="20577"/>
          <ac:spMkLst>
            <pc:docMk/>
            <pc:sldMk cId="3240899165" sldId="2212"/>
            <ac:spMk id="12" creationId="{A76CF317-8F68-B2F1-3D06-2EF2070A04BC}"/>
          </ac:spMkLst>
        </pc:spChg>
        <pc:spChg chg="mod">
          <ac:chgData name="Timur Karimsakov" userId="ea04722c-9be7-49ff-9a17-c5a9c646d8a7" providerId="ADAL" clId="{7E6D9E73-6517-4564-A367-6425B5557C17}" dt="2024-11-26T12:33:30.850" v="984"/>
          <ac:spMkLst>
            <pc:docMk/>
            <pc:sldMk cId="3240899165" sldId="2212"/>
            <ac:spMk id="13" creationId="{4D6F066C-7E5F-3642-7FCD-7414BCFA6221}"/>
          </ac:spMkLst>
        </pc:spChg>
        <pc:spChg chg="mod">
          <ac:chgData name="Timur Karimsakov" userId="ea04722c-9be7-49ff-9a17-c5a9c646d8a7" providerId="ADAL" clId="{7E6D9E73-6517-4564-A367-6425B5557C17}" dt="2024-11-26T12:35:38.255" v="990" actId="20577"/>
          <ac:spMkLst>
            <pc:docMk/>
            <pc:sldMk cId="3240899165" sldId="2212"/>
            <ac:spMk id="14" creationId="{DE17CCEB-24AB-C639-6423-8DB0648F92E9}"/>
          </ac:spMkLst>
        </pc:spChg>
        <pc:spChg chg="mod">
          <ac:chgData name="Timur Karimsakov" userId="ea04722c-9be7-49ff-9a17-c5a9c646d8a7" providerId="ADAL" clId="{7E6D9E73-6517-4564-A367-6425B5557C17}" dt="2024-11-26T12:33:30.850" v="984"/>
          <ac:spMkLst>
            <pc:docMk/>
            <pc:sldMk cId="3240899165" sldId="2212"/>
            <ac:spMk id="16" creationId="{BDD4868F-415A-0E30-0561-05501135113B}"/>
          </ac:spMkLst>
        </pc:spChg>
        <pc:spChg chg="mod">
          <ac:chgData name="Timur Karimsakov" userId="ea04722c-9be7-49ff-9a17-c5a9c646d8a7" providerId="ADAL" clId="{7E6D9E73-6517-4564-A367-6425B5557C17}" dt="2024-11-26T12:35:44.142" v="992" actId="20577"/>
          <ac:spMkLst>
            <pc:docMk/>
            <pc:sldMk cId="3240899165" sldId="2212"/>
            <ac:spMk id="17" creationId="{8BB79770-0F41-2DF3-47F9-C49B4773161C}"/>
          </ac:spMkLst>
        </pc:spChg>
        <pc:spChg chg="mod">
          <ac:chgData name="Timur Karimsakov" userId="ea04722c-9be7-49ff-9a17-c5a9c646d8a7" providerId="ADAL" clId="{7E6D9E73-6517-4564-A367-6425B5557C17}" dt="2024-11-26T12:33:43.524" v="988" actId="20577"/>
          <ac:spMkLst>
            <pc:docMk/>
            <pc:sldMk cId="3240899165" sldId="2212"/>
            <ac:spMk id="19" creationId="{6EA4D11D-15AF-5F8D-CECA-A747B593D9F0}"/>
          </ac:spMkLst>
        </pc:spChg>
        <pc:spChg chg="mod">
          <ac:chgData name="Timur Karimsakov" userId="ea04722c-9be7-49ff-9a17-c5a9c646d8a7" providerId="ADAL" clId="{7E6D9E73-6517-4564-A367-6425B5557C17}" dt="2024-11-26T12:35:46.086" v="994" actId="20577"/>
          <ac:spMkLst>
            <pc:docMk/>
            <pc:sldMk cId="3240899165" sldId="2212"/>
            <ac:spMk id="21" creationId="{FEB9B801-EDB1-D269-7612-3BC9179F48A3}"/>
          </ac:spMkLst>
        </pc:spChg>
        <pc:spChg chg="mod">
          <ac:chgData name="Timur Karimsakov" userId="ea04722c-9be7-49ff-9a17-c5a9c646d8a7" providerId="ADAL" clId="{7E6D9E73-6517-4564-A367-6425B5557C17}" dt="2024-11-27T06:27:10.531" v="1481" actId="20577"/>
          <ac:spMkLst>
            <pc:docMk/>
            <pc:sldMk cId="3240899165" sldId="2212"/>
            <ac:spMk id="22" creationId="{1F959469-4747-9E14-9895-BDBF7B7FE1B9}"/>
          </ac:spMkLst>
        </pc:spChg>
        <pc:spChg chg="mod">
          <ac:chgData name="Timur Karimsakov" userId="ea04722c-9be7-49ff-9a17-c5a9c646d8a7" providerId="ADAL" clId="{7E6D9E73-6517-4564-A367-6425B5557C17}" dt="2024-11-26T12:35:48.522" v="996" actId="20577"/>
          <ac:spMkLst>
            <pc:docMk/>
            <pc:sldMk cId="3240899165" sldId="2212"/>
            <ac:spMk id="24" creationId="{9741CBEE-37A6-CA76-08AD-1E7F5D63011A}"/>
          </ac:spMkLst>
        </pc:spChg>
        <pc:spChg chg="mod">
          <ac:chgData name="Timur Karimsakov" userId="ea04722c-9be7-49ff-9a17-c5a9c646d8a7" providerId="ADAL" clId="{7E6D9E73-6517-4564-A367-6425B5557C17}" dt="2024-11-26T12:36:16.683" v="1022" actId="14100"/>
          <ac:spMkLst>
            <pc:docMk/>
            <pc:sldMk cId="3240899165" sldId="2212"/>
            <ac:spMk id="25" creationId="{E6494AFF-7691-24B3-C087-7E6F177F098D}"/>
          </ac:spMkLst>
        </pc:spChg>
        <pc:spChg chg="mod">
          <ac:chgData name="Timur Karimsakov" userId="ea04722c-9be7-49ff-9a17-c5a9c646d8a7" providerId="ADAL" clId="{7E6D9E73-6517-4564-A367-6425B5557C17}" dt="2024-11-26T12:35:51.056" v="998" actId="20577"/>
          <ac:spMkLst>
            <pc:docMk/>
            <pc:sldMk cId="3240899165" sldId="2212"/>
            <ac:spMk id="27" creationId="{FE71BC13-8269-9124-132E-63ABD8B0C1E6}"/>
          </ac:spMkLst>
        </pc:spChg>
        <pc:spChg chg="mod">
          <ac:chgData name="Timur Karimsakov" userId="ea04722c-9be7-49ff-9a17-c5a9c646d8a7" providerId="ADAL" clId="{7E6D9E73-6517-4564-A367-6425B5557C17}" dt="2024-11-26T12:36:22.050" v="1033" actId="20577"/>
          <ac:spMkLst>
            <pc:docMk/>
            <pc:sldMk cId="3240899165" sldId="2212"/>
            <ac:spMk id="28" creationId="{892F111B-E474-A3DA-31E6-555CFD0512B3}"/>
          </ac:spMkLst>
        </pc:spChg>
        <pc:spChg chg="mod">
          <ac:chgData name="Timur Karimsakov" userId="ea04722c-9be7-49ff-9a17-c5a9c646d8a7" providerId="ADAL" clId="{7E6D9E73-6517-4564-A367-6425B5557C17}" dt="2024-11-27T06:27:15.570" v="1485" actId="20577"/>
          <ac:spMkLst>
            <pc:docMk/>
            <pc:sldMk cId="3240899165" sldId="2212"/>
            <ac:spMk id="38" creationId="{4A77129F-0CEE-7351-EC4A-9321C484638E}"/>
          </ac:spMkLst>
        </pc:spChg>
        <pc:spChg chg="mod">
          <ac:chgData name="Timur Karimsakov" userId="ea04722c-9be7-49ff-9a17-c5a9c646d8a7" providerId="ADAL" clId="{7E6D9E73-6517-4564-A367-6425B5557C17}" dt="2024-11-27T06:27:29.366" v="1489" actId="14100"/>
          <ac:spMkLst>
            <pc:docMk/>
            <pc:sldMk cId="3240899165" sldId="2212"/>
            <ac:spMk id="41" creationId="{1B76418E-E0A3-2871-3BA1-41DE1238C80A}"/>
          </ac:spMkLst>
        </pc:spChg>
        <pc:grpChg chg="del">
          <ac:chgData name="Timur Karimsakov" userId="ea04722c-9be7-49ff-9a17-c5a9c646d8a7" providerId="ADAL" clId="{7E6D9E73-6517-4564-A367-6425B5557C17}" dt="2024-11-26T12:33:30.508" v="983" actId="478"/>
          <ac:grpSpMkLst>
            <pc:docMk/>
            <pc:sldMk cId="3240899165" sldId="2212"/>
            <ac:grpSpMk id="2" creationId="{DAAE8C0F-A60D-4703-462B-55A8B31317BF}"/>
          </ac:grpSpMkLst>
        </pc:grpChg>
        <pc:grpChg chg="add mod">
          <ac:chgData name="Timur Karimsakov" userId="ea04722c-9be7-49ff-9a17-c5a9c646d8a7" providerId="ADAL" clId="{7E6D9E73-6517-4564-A367-6425B5557C17}" dt="2024-11-26T12:33:30.850" v="984"/>
          <ac:grpSpMkLst>
            <pc:docMk/>
            <pc:sldMk cId="3240899165" sldId="2212"/>
            <ac:grpSpMk id="10" creationId="{FA89F92D-050A-5774-974A-98CC18E2D50D}"/>
          </ac:grpSpMkLst>
        </pc:grpChg>
        <pc:grpChg chg="add mod">
          <ac:chgData name="Timur Karimsakov" userId="ea04722c-9be7-49ff-9a17-c5a9c646d8a7" providerId="ADAL" clId="{7E6D9E73-6517-4564-A367-6425B5557C17}" dt="2024-11-26T12:33:30.850" v="984"/>
          <ac:grpSpMkLst>
            <pc:docMk/>
            <pc:sldMk cId="3240899165" sldId="2212"/>
            <ac:grpSpMk id="15" creationId="{D6BDF89A-5CCD-E4A9-B4F3-8C375A918294}"/>
          </ac:grpSpMkLst>
        </pc:grpChg>
        <pc:grpChg chg="add mod">
          <ac:chgData name="Timur Karimsakov" userId="ea04722c-9be7-49ff-9a17-c5a9c646d8a7" providerId="ADAL" clId="{7E6D9E73-6517-4564-A367-6425B5557C17}" dt="2024-11-26T12:33:30.850" v="984"/>
          <ac:grpSpMkLst>
            <pc:docMk/>
            <pc:sldMk cId="3240899165" sldId="2212"/>
            <ac:grpSpMk id="18" creationId="{19C6A34F-F8E0-5F16-6BD3-70EE9759B837}"/>
          </ac:grpSpMkLst>
        </pc:grpChg>
        <pc:grpChg chg="add mod">
          <ac:chgData name="Timur Karimsakov" userId="ea04722c-9be7-49ff-9a17-c5a9c646d8a7" providerId="ADAL" clId="{7E6D9E73-6517-4564-A367-6425B5557C17}" dt="2024-11-26T12:33:30.850" v="984"/>
          <ac:grpSpMkLst>
            <pc:docMk/>
            <pc:sldMk cId="3240899165" sldId="2212"/>
            <ac:grpSpMk id="23" creationId="{D288F4B8-0F73-186E-13FB-CF4AC438CDEE}"/>
          </ac:grpSpMkLst>
        </pc:grpChg>
        <pc:grpChg chg="add mod">
          <ac:chgData name="Timur Karimsakov" userId="ea04722c-9be7-49ff-9a17-c5a9c646d8a7" providerId="ADAL" clId="{7E6D9E73-6517-4564-A367-6425B5557C17}" dt="2024-11-26T12:33:30.850" v="984"/>
          <ac:grpSpMkLst>
            <pc:docMk/>
            <pc:sldMk cId="3240899165" sldId="2212"/>
            <ac:grpSpMk id="26" creationId="{4D80AF8F-7A66-07A6-5EEC-A09AB8339F89}"/>
          </ac:grpSpMkLst>
        </pc:grpChg>
        <pc:grpChg chg="del">
          <ac:chgData name="Timur Karimsakov" userId="ea04722c-9be7-49ff-9a17-c5a9c646d8a7" providerId="ADAL" clId="{7E6D9E73-6517-4564-A367-6425B5557C17}" dt="2024-11-26T12:33:30.508" v="983" actId="478"/>
          <ac:grpSpMkLst>
            <pc:docMk/>
            <pc:sldMk cId="3240899165" sldId="2212"/>
            <ac:grpSpMk id="43" creationId="{47BE0FC2-9038-0AA9-E934-E028406B70F8}"/>
          </ac:grpSpMkLst>
        </pc:grpChg>
        <pc:grpChg chg="del">
          <ac:chgData name="Timur Karimsakov" userId="ea04722c-9be7-49ff-9a17-c5a9c646d8a7" providerId="ADAL" clId="{7E6D9E73-6517-4564-A367-6425B5557C17}" dt="2024-11-26T12:33:30.508" v="983" actId="478"/>
          <ac:grpSpMkLst>
            <pc:docMk/>
            <pc:sldMk cId="3240899165" sldId="2212"/>
            <ac:grpSpMk id="46" creationId="{A0A3788E-F9F4-B9C6-9123-4A85E815D028}"/>
          </ac:grpSpMkLst>
        </pc:grpChg>
        <pc:grpChg chg="del">
          <ac:chgData name="Timur Karimsakov" userId="ea04722c-9be7-49ff-9a17-c5a9c646d8a7" providerId="ADAL" clId="{7E6D9E73-6517-4564-A367-6425B5557C17}" dt="2024-11-26T12:33:30.508" v="983" actId="478"/>
          <ac:grpSpMkLst>
            <pc:docMk/>
            <pc:sldMk cId="3240899165" sldId="2212"/>
            <ac:grpSpMk id="49" creationId="{ACA37DC7-92DF-DC26-A3E0-9E61263863D3}"/>
          </ac:grpSpMkLst>
        </pc:grpChg>
        <pc:grpChg chg="del">
          <ac:chgData name="Timur Karimsakov" userId="ea04722c-9be7-49ff-9a17-c5a9c646d8a7" providerId="ADAL" clId="{7E6D9E73-6517-4564-A367-6425B5557C17}" dt="2024-11-26T12:33:30.508" v="983" actId="478"/>
          <ac:grpSpMkLst>
            <pc:docMk/>
            <pc:sldMk cId="3240899165" sldId="2212"/>
            <ac:grpSpMk id="52" creationId="{23C41BBA-E07C-54CB-D9C4-D3922981E61A}"/>
          </ac:grpSpMkLst>
        </pc:grpChg>
      </pc:sldChg>
      <pc:sldChg chg="modSp add del mod">
        <pc:chgData name="Timur Karimsakov" userId="ea04722c-9be7-49ff-9a17-c5a9c646d8a7" providerId="ADAL" clId="{7E6D9E73-6517-4564-A367-6425B5557C17}" dt="2024-11-26T11:43:58.154" v="402" actId="47"/>
        <pc:sldMkLst>
          <pc:docMk/>
          <pc:sldMk cId="1889495973" sldId="2214"/>
        </pc:sldMkLst>
        <pc:spChg chg="mod">
          <ac:chgData name="Timur Karimsakov" userId="ea04722c-9be7-49ff-9a17-c5a9c646d8a7" providerId="ADAL" clId="{7E6D9E73-6517-4564-A367-6425B5557C17}" dt="2024-11-26T11:41:47.834" v="359" actId="20577"/>
          <ac:spMkLst>
            <pc:docMk/>
            <pc:sldMk cId="1889495973" sldId="2214"/>
            <ac:spMk id="4" creationId="{D9A7DC92-E6E0-F85D-D643-D022689C0378}"/>
          </ac:spMkLst>
        </pc:spChg>
        <pc:spChg chg="mod">
          <ac:chgData name="Timur Karimsakov" userId="ea04722c-9be7-49ff-9a17-c5a9c646d8a7" providerId="ADAL" clId="{7E6D9E73-6517-4564-A367-6425B5557C17}" dt="2024-11-26T11:38:53.276" v="166" actId="14100"/>
          <ac:spMkLst>
            <pc:docMk/>
            <pc:sldMk cId="1889495973" sldId="2214"/>
            <ac:spMk id="7" creationId="{9B66BC15-C7C9-BCAE-95C9-423B050F9920}"/>
          </ac:spMkLst>
        </pc:spChg>
        <pc:spChg chg="mod">
          <ac:chgData name="Timur Karimsakov" userId="ea04722c-9be7-49ff-9a17-c5a9c646d8a7" providerId="ADAL" clId="{7E6D9E73-6517-4564-A367-6425B5557C17}" dt="2024-11-26T11:42:15.169" v="374" actId="14100"/>
          <ac:spMkLst>
            <pc:docMk/>
            <pc:sldMk cId="1889495973" sldId="2214"/>
            <ac:spMk id="13" creationId="{4B231C19-6581-F296-4C38-7C9083947714}"/>
          </ac:spMkLst>
        </pc:spChg>
        <pc:spChg chg="mod">
          <ac:chgData name="Timur Karimsakov" userId="ea04722c-9be7-49ff-9a17-c5a9c646d8a7" providerId="ADAL" clId="{7E6D9E73-6517-4564-A367-6425B5557C17}" dt="2024-11-26T11:43:21.872" v="384" actId="20577"/>
          <ac:spMkLst>
            <pc:docMk/>
            <pc:sldMk cId="1889495973" sldId="2214"/>
            <ac:spMk id="18" creationId="{21CF1E7F-60B0-9567-58C0-1F6E6E97154F}"/>
          </ac:spMkLst>
        </pc:spChg>
        <pc:spChg chg="mod">
          <ac:chgData name="Timur Karimsakov" userId="ea04722c-9be7-49ff-9a17-c5a9c646d8a7" providerId="ADAL" clId="{7E6D9E73-6517-4564-A367-6425B5557C17}" dt="2024-11-26T11:43:28.057" v="392" actId="20577"/>
          <ac:spMkLst>
            <pc:docMk/>
            <pc:sldMk cId="1889495973" sldId="2214"/>
            <ac:spMk id="19" creationId="{691CB1FF-F824-C06C-847C-D41370F8E7F2}"/>
          </ac:spMkLst>
        </pc:spChg>
        <pc:spChg chg="mod">
          <ac:chgData name="Timur Karimsakov" userId="ea04722c-9be7-49ff-9a17-c5a9c646d8a7" providerId="ADAL" clId="{7E6D9E73-6517-4564-A367-6425B5557C17}" dt="2024-11-26T11:43:33.023" v="399" actId="20577"/>
          <ac:spMkLst>
            <pc:docMk/>
            <pc:sldMk cId="1889495973" sldId="2214"/>
            <ac:spMk id="23" creationId="{D350D8B1-7A0D-4661-75CE-0CAC4A43DF6A}"/>
          </ac:spMkLst>
        </pc:spChg>
        <pc:spChg chg="mod">
          <ac:chgData name="Timur Karimsakov" userId="ea04722c-9be7-49ff-9a17-c5a9c646d8a7" providerId="ADAL" clId="{7E6D9E73-6517-4564-A367-6425B5557C17}" dt="2024-11-26T11:41:18.532" v="356" actId="20577"/>
          <ac:spMkLst>
            <pc:docMk/>
            <pc:sldMk cId="1889495973" sldId="2214"/>
            <ac:spMk id="68" creationId="{2ECA0113-5FE2-F5DA-CE28-D2A789698078}"/>
          </ac:spMkLst>
        </pc:spChg>
      </pc:sldChg>
      <pc:sldChg chg="addSp modSp mod">
        <pc:chgData name="Timur Karimsakov" userId="ea04722c-9be7-49ff-9a17-c5a9c646d8a7" providerId="ADAL" clId="{7E6D9E73-6517-4564-A367-6425B5557C17}" dt="2024-11-27T05:51:54.332" v="1474" actId="1036"/>
        <pc:sldMkLst>
          <pc:docMk/>
          <pc:sldMk cId="2566058658" sldId="2262"/>
        </pc:sldMkLst>
        <pc:spChg chg="mod">
          <ac:chgData name="Timur Karimsakov" userId="ea04722c-9be7-49ff-9a17-c5a9c646d8a7" providerId="ADAL" clId="{7E6D9E73-6517-4564-A367-6425B5557C17}" dt="2024-11-27T05:51:29.777" v="1426" actId="1035"/>
          <ac:spMkLst>
            <pc:docMk/>
            <pc:sldMk cId="2566058658" sldId="2262"/>
            <ac:spMk id="3" creationId="{6112DD0B-7B8C-60CE-1C86-87B7A886817E}"/>
          </ac:spMkLst>
        </pc:spChg>
        <pc:spChg chg="mod">
          <ac:chgData name="Timur Karimsakov" userId="ea04722c-9be7-49ff-9a17-c5a9c646d8a7" providerId="ADAL" clId="{7E6D9E73-6517-4564-A367-6425B5557C17}" dt="2024-11-27T05:51:00.597" v="1417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Timur Karimsakov" userId="ea04722c-9be7-49ff-9a17-c5a9c646d8a7" providerId="ADAL" clId="{7E6D9E73-6517-4564-A367-6425B5557C17}" dt="2024-11-27T05:51:33.177" v="1435" actId="1035"/>
          <ac:spMkLst>
            <pc:docMk/>
            <pc:sldMk cId="2566058658" sldId="2262"/>
            <ac:spMk id="5" creationId="{1FEC01A9-B982-EE03-7035-09F79EDE287C}"/>
          </ac:spMkLst>
        </pc:spChg>
        <pc:spChg chg="mod">
          <ac:chgData name="Timur Karimsakov" userId="ea04722c-9be7-49ff-9a17-c5a9c646d8a7" providerId="ADAL" clId="{7E6D9E73-6517-4564-A367-6425B5557C17}" dt="2024-11-27T05:51:38.896" v="1443" actId="1037"/>
          <ac:spMkLst>
            <pc:docMk/>
            <pc:sldMk cId="2566058658" sldId="2262"/>
            <ac:spMk id="6" creationId="{E321BFED-674E-6FE4-4ABA-32A133ED0F26}"/>
          </ac:spMkLst>
        </pc:spChg>
        <pc:spChg chg="mod">
          <ac:chgData name="Timur Karimsakov" userId="ea04722c-9be7-49ff-9a17-c5a9c646d8a7" providerId="ADAL" clId="{7E6D9E73-6517-4564-A367-6425B5557C17}" dt="2024-11-27T05:51:43.305" v="1454" actId="1036"/>
          <ac:spMkLst>
            <pc:docMk/>
            <pc:sldMk cId="2566058658" sldId="2262"/>
            <ac:spMk id="9" creationId="{D9B84EA8-B855-220B-2BA5-6E20C8555659}"/>
          </ac:spMkLst>
        </pc:spChg>
        <pc:spChg chg="mod">
          <ac:chgData name="Timur Karimsakov" userId="ea04722c-9be7-49ff-9a17-c5a9c646d8a7" providerId="ADAL" clId="{7E6D9E73-6517-4564-A367-6425B5557C17}" dt="2024-11-27T05:51:45.948" v="1456" actId="1038"/>
          <ac:spMkLst>
            <pc:docMk/>
            <pc:sldMk cId="2566058658" sldId="2262"/>
            <ac:spMk id="10" creationId="{CB3EAD57-DE5A-0703-E4CD-BAC797260763}"/>
          </ac:spMkLst>
        </pc:spChg>
        <pc:spChg chg="mod">
          <ac:chgData name="Timur Karimsakov" userId="ea04722c-9be7-49ff-9a17-c5a9c646d8a7" providerId="ADAL" clId="{7E6D9E73-6517-4564-A367-6425B5557C17}" dt="2024-11-27T05:51:50.428" v="1468" actId="1036"/>
          <ac:spMkLst>
            <pc:docMk/>
            <pc:sldMk cId="2566058658" sldId="2262"/>
            <ac:spMk id="11" creationId="{63835E1C-152A-FCA4-3271-106825AA401F}"/>
          </ac:spMkLst>
        </pc:spChg>
        <pc:spChg chg="mod">
          <ac:chgData name="Timur Karimsakov" userId="ea04722c-9be7-49ff-9a17-c5a9c646d8a7" providerId="ADAL" clId="{7E6D9E73-6517-4564-A367-6425B5557C17}" dt="2024-11-26T12:04:42.951" v="858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Timur Karimsakov" userId="ea04722c-9be7-49ff-9a17-c5a9c646d8a7" providerId="ADAL" clId="{7E6D9E73-6517-4564-A367-6425B5557C17}" dt="2024-11-27T05:50:26.760" v="1410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Timur Karimsakov" userId="ea04722c-9be7-49ff-9a17-c5a9c646d8a7" providerId="ADAL" clId="{7E6D9E73-6517-4564-A367-6425B5557C17}" dt="2024-11-26T12:03:13.464" v="813" actId="20577"/>
          <ac:spMkLst>
            <pc:docMk/>
            <pc:sldMk cId="2566058658" sldId="2262"/>
            <ac:spMk id="27" creationId="{6B3D17CA-F792-DC19-AF9F-1B3065878F5C}"/>
          </ac:spMkLst>
        </pc:spChg>
        <pc:spChg chg="mod">
          <ac:chgData name="Timur Karimsakov" userId="ea04722c-9be7-49ff-9a17-c5a9c646d8a7" providerId="ADAL" clId="{7E6D9E73-6517-4564-A367-6425B5557C17}" dt="2024-11-26T12:02:47.922" v="803" actId="1076"/>
          <ac:spMkLst>
            <pc:docMk/>
            <pc:sldMk cId="2566058658" sldId="2262"/>
            <ac:spMk id="29" creationId="{50AE4A15-9F57-44AA-899F-EB3CD86D6E59}"/>
          </ac:spMkLst>
        </pc:spChg>
        <pc:spChg chg="mod">
          <ac:chgData name="Timur Karimsakov" userId="ea04722c-9be7-49ff-9a17-c5a9c646d8a7" providerId="ADAL" clId="{7E6D9E73-6517-4564-A367-6425B5557C17}" dt="2024-11-26T12:02:51.170" v="804" actId="1076"/>
          <ac:spMkLst>
            <pc:docMk/>
            <pc:sldMk cId="2566058658" sldId="2262"/>
            <ac:spMk id="30" creationId="{1D331076-3D9C-589E-9C92-D37CFBF5E86F}"/>
          </ac:spMkLst>
        </pc:spChg>
        <pc:spChg chg="mod">
          <ac:chgData name="Timur Karimsakov" userId="ea04722c-9be7-49ff-9a17-c5a9c646d8a7" providerId="ADAL" clId="{7E6D9E73-6517-4564-A367-6425B5557C17}" dt="2024-11-26T12:03:05.341" v="808" actId="1076"/>
          <ac:spMkLst>
            <pc:docMk/>
            <pc:sldMk cId="2566058658" sldId="2262"/>
            <ac:spMk id="31" creationId="{31A5032B-A80E-2652-04BE-A7D3E6D4EC3C}"/>
          </ac:spMkLst>
        </pc:spChg>
        <pc:spChg chg="mod">
          <ac:chgData name="Timur Karimsakov" userId="ea04722c-9be7-49ff-9a17-c5a9c646d8a7" providerId="ADAL" clId="{7E6D9E73-6517-4564-A367-6425B5557C17}" dt="2024-11-26T12:02:55.232" v="805" actId="1076"/>
          <ac:spMkLst>
            <pc:docMk/>
            <pc:sldMk cId="2566058658" sldId="2262"/>
            <ac:spMk id="32" creationId="{23DA79C4-C5AA-CB8D-3B59-D6CA95CA6679}"/>
          </ac:spMkLst>
        </pc:spChg>
        <pc:spChg chg="mod">
          <ac:chgData name="Timur Karimsakov" userId="ea04722c-9be7-49ff-9a17-c5a9c646d8a7" providerId="ADAL" clId="{7E6D9E73-6517-4564-A367-6425B5557C17}" dt="2024-11-26T12:02:59.866" v="806" actId="1076"/>
          <ac:spMkLst>
            <pc:docMk/>
            <pc:sldMk cId="2566058658" sldId="2262"/>
            <ac:spMk id="35" creationId="{0268E12B-EE54-CB5F-0393-744D19CE183A}"/>
          </ac:spMkLst>
        </pc:spChg>
        <pc:spChg chg="mod">
          <ac:chgData name="Timur Karimsakov" userId="ea04722c-9be7-49ff-9a17-c5a9c646d8a7" providerId="ADAL" clId="{7E6D9E73-6517-4564-A367-6425B5557C17}" dt="2024-11-26T12:02:44.704" v="802" actId="1076"/>
          <ac:spMkLst>
            <pc:docMk/>
            <pc:sldMk cId="2566058658" sldId="2262"/>
            <ac:spMk id="36" creationId="{EE455E28-7A5A-4B1D-C904-28566AA84EE5}"/>
          </ac:spMkLst>
        </pc:spChg>
        <pc:spChg chg="mod">
          <ac:chgData name="Timur Karimsakov" userId="ea04722c-9be7-49ff-9a17-c5a9c646d8a7" providerId="ADAL" clId="{7E6D9E73-6517-4564-A367-6425B5557C17}" dt="2024-11-27T05:51:54.332" v="1474" actId="1036"/>
          <ac:spMkLst>
            <pc:docMk/>
            <pc:sldMk cId="2566058658" sldId="2262"/>
            <ac:spMk id="43" creationId="{76E9DA9A-37A9-3B40-F43F-1AE01A891458}"/>
          </ac:spMkLst>
        </pc:spChg>
        <pc:spChg chg="mod">
          <ac:chgData name="Timur Karimsakov" userId="ea04722c-9be7-49ff-9a17-c5a9c646d8a7" providerId="ADAL" clId="{7E6D9E73-6517-4564-A367-6425B5557C17}" dt="2024-11-26T12:03:09.788" v="811" actId="1076"/>
          <ac:spMkLst>
            <pc:docMk/>
            <pc:sldMk cId="2566058658" sldId="2262"/>
            <ac:spMk id="69" creationId="{B877ECC2-2520-FEDB-518D-37474CC4E7F2}"/>
          </ac:spMkLst>
        </pc:spChg>
        <pc:graphicFrameChg chg="add mod">
          <ac:chgData name="Timur Karimsakov" userId="ea04722c-9be7-49ff-9a17-c5a9c646d8a7" providerId="ADAL" clId="{7E6D9E73-6517-4564-A367-6425B5557C17}" dt="2024-11-26T12:01:25.241" v="688" actId="167"/>
          <ac:graphicFrameMkLst>
            <pc:docMk/>
            <pc:sldMk cId="2566058658" sldId="2262"/>
            <ac:graphicFrameMk id="12" creationId="{3CAC659A-6DA5-1D89-7F77-91D5EBA1EBDA}"/>
          </ac:graphicFrameMkLst>
        </pc:graphicFrameChg>
        <pc:cxnChg chg="mod">
          <ac:chgData name="Timur Karimsakov" userId="ea04722c-9be7-49ff-9a17-c5a9c646d8a7" providerId="ADAL" clId="{7E6D9E73-6517-4564-A367-6425B5557C17}" dt="2024-11-26T12:01:37.137" v="696" actId="1037"/>
          <ac:cxnSpMkLst>
            <pc:docMk/>
            <pc:sldMk cId="2566058658" sldId="2262"/>
            <ac:cxnSpMk id="39" creationId="{F2872E0C-2FDF-F683-8EEA-95EBEE240225}"/>
          </ac:cxnSpMkLst>
        </pc:cxnChg>
        <pc:cxnChg chg="mod">
          <ac:chgData name="Timur Karimsakov" userId="ea04722c-9be7-49ff-9a17-c5a9c646d8a7" providerId="ADAL" clId="{7E6D9E73-6517-4564-A367-6425B5557C17}" dt="2024-11-26T12:02:23.172" v="777" actId="1038"/>
          <ac:cxnSpMkLst>
            <pc:docMk/>
            <pc:sldMk cId="2566058658" sldId="2262"/>
            <ac:cxnSpMk id="40" creationId="{5BFF037B-80AE-6172-B4CE-EA053D92537B}"/>
          </ac:cxnSpMkLst>
        </pc:cxnChg>
        <pc:cxnChg chg="mod">
          <ac:chgData name="Timur Karimsakov" userId="ea04722c-9be7-49ff-9a17-c5a9c646d8a7" providerId="ADAL" clId="{7E6D9E73-6517-4564-A367-6425B5557C17}" dt="2024-11-26T12:02:17.529" v="756" actId="1036"/>
          <ac:cxnSpMkLst>
            <pc:docMk/>
            <pc:sldMk cId="2566058658" sldId="2262"/>
            <ac:cxnSpMk id="41" creationId="{7A3B58C8-91D4-BA71-BDC7-8212431F126E}"/>
          </ac:cxnSpMkLst>
        </pc:cxnChg>
        <pc:cxnChg chg="mod">
          <ac:chgData name="Timur Karimsakov" userId="ea04722c-9be7-49ff-9a17-c5a9c646d8a7" providerId="ADAL" clId="{7E6D9E73-6517-4564-A367-6425B5557C17}" dt="2024-11-26T12:02:04.178" v="733" actId="1036"/>
          <ac:cxnSpMkLst>
            <pc:docMk/>
            <pc:sldMk cId="2566058658" sldId="2262"/>
            <ac:cxnSpMk id="42" creationId="{3C48E14B-2F0B-3ABF-E60C-79DCB35DE712}"/>
          </ac:cxnSpMkLst>
        </pc:cxnChg>
        <pc:cxnChg chg="mod">
          <ac:chgData name="Timur Karimsakov" userId="ea04722c-9be7-49ff-9a17-c5a9c646d8a7" providerId="ADAL" clId="{7E6D9E73-6517-4564-A367-6425B5557C17}" dt="2024-11-26T12:03:01.452" v="807" actId="1037"/>
          <ac:cxnSpMkLst>
            <pc:docMk/>
            <pc:sldMk cId="2566058658" sldId="2262"/>
            <ac:cxnSpMk id="44" creationId="{118EEA96-9124-07E7-247B-2C680DF795A0}"/>
          </ac:cxnSpMkLst>
        </pc:cxnChg>
        <pc:cxnChg chg="mod">
          <ac:chgData name="Timur Karimsakov" userId="ea04722c-9be7-49ff-9a17-c5a9c646d8a7" providerId="ADAL" clId="{7E6D9E73-6517-4564-A367-6425B5557C17}" dt="2024-11-26T12:01:30.981" v="689" actId="1076"/>
          <ac:cxnSpMkLst>
            <pc:docMk/>
            <pc:sldMk cId="2566058658" sldId="2262"/>
            <ac:cxnSpMk id="45" creationId="{0A5870A7-9599-A554-3AF2-CFB06F9B345F}"/>
          </ac:cxnSpMkLst>
        </pc:cxnChg>
        <pc:cxnChg chg="mod">
          <ac:chgData name="Timur Karimsakov" userId="ea04722c-9be7-49ff-9a17-c5a9c646d8a7" providerId="ADAL" clId="{7E6D9E73-6517-4564-A367-6425B5557C17}" dt="2024-11-26T12:02:37.838" v="801" actId="1037"/>
          <ac:cxnSpMkLst>
            <pc:docMk/>
            <pc:sldMk cId="2566058658" sldId="2262"/>
            <ac:cxnSpMk id="66" creationId="{88CC2AC5-C9CD-8D32-5E6D-152230D066B4}"/>
          </ac:cxnSpMkLst>
        </pc:cxnChg>
      </pc:sldChg>
      <pc:sldChg chg="del">
        <pc:chgData name="Timur Karimsakov" userId="ea04722c-9be7-49ff-9a17-c5a9c646d8a7" providerId="ADAL" clId="{7E6D9E73-6517-4564-A367-6425B5557C17}" dt="2024-11-26T11:44:05.268" v="403" actId="47"/>
        <pc:sldMkLst>
          <pc:docMk/>
          <pc:sldMk cId="2234924895" sldId="2267"/>
        </pc:sldMkLst>
      </pc:sldChg>
      <pc:sldChg chg="addSp delSp modSp mod">
        <pc:chgData name="Timur Karimsakov" userId="ea04722c-9be7-49ff-9a17-c5a9c646d8a7" providerId="ADAL" clId="{7E6D9E73-6517-4564-A367-6425B5557C17}" dt="2024-11-27T05:50:04.045" v="1397" actId="20577"/>
        <pc:sldMkLst>
          <pc:docMk/>
          <pc:sldMk cId="1261594426" sldId="2272"/>
        </pc:sldMkLst>
        <pc:spChg chg="mod">
          <ac:chgData name="Timur Karimsakov" userId="ea04722c-9be7-49ff-9a17-c5a9c646d8a7" providerId="ADAL" clId="{7E6D9E73-6517-4564-A367-6425B5557C17}" dt="2024-11-27T05:49:30.595" v="1390" actId="20577"/>
          <ac:spMkLst>
            <pc:docMk/>
            <pc:sldMk cId="1261594426" sldId="2272"/>
            <ac:spMk id="4" creationId="{D9A7DC92-E6E0-F85D-D643-D022689C0378}"/>
          </ac:spMkLst>
        </pc:spChg>
        <pc:spChg chg="del">
          <ac:chgData name="Timur Karimsakov" userId="ea04722c-9be7-49ff-9a17-c5a9c646d8a7" providerId="ADAL" clId="{7E6D9E73-6517-4564-A367-6425B5557C17}" dt="2024-11-26T11:52:56.583" v="559" actId="478"/>
          <ac:spMkLst>
            <pc:docMk/>
            <pc:sldMk cId="1261594426" sldId="2272"/>
            <ac:spMk id="8" creationId="{85697E62-4051-88FC-C94D-84493D08BE8E}"/>
          </ac:spMkLst>
        </pc:spChg>
        <pc:spChg chg="mod">
          <ac:chgData name="Timur Karimsakov" userId="ea04722c-9be7-49ff-9a17-c5a9c646d8a7" providerId="ADAL" clId="{7E6D9E73-6517-4564-A367-6425B5557C17}" dt="2024-11-26T11:49:43.518" v="521" actId="1076"/>
          <ac:spMkLst>
            <pc:docMk/>
            <pc:sldMk cId="1261594426" sldId="2272"/>
            <ac:spMk id="9" creationId="{5489AD67-2A77-9357-FD3E-45E6BC9DA4F1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2" creationId="{9646F78B-57E4-5109-5235-D81ADBDB06AA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3" creationId="{1A276CC1-C7B6-68D9-89E0-1EDD18BE56B1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4" creationId="{6DB2F51D-3934-7E03-AA09-66A77B3FC5D1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6" creationId="{EA0B9F3C-1933-E00F-52B1-4BE4C3D90EC0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7" creationId="{C0439621-1DE6-B307-1298-9900300DB966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8" creationId="{60B7632C-B407-A606-5476-3D46A1545F24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19" creationId="{9EE7571E-67DA-035D-62FE-95BD60B98C3B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20" creationId="{F1D22E08-26FF-35C7-BEE1-0E1BA39C0EFD}"/>
          </ac:spMkLst>
        </pc:spChg>
        <pc:spChg chg="mod">
          <ac:chgData name="Timur Karimsakov" userId="ea04722c-9be7-49ff-9a17-c5a9c646d8a7" providerId="ADAL" clId="{7E6D9E73-6517-4564-A367-6425B5557C17}" dt="2024-11-26T11:49:22.354" v="517" actId="1037"/>
          <ac:spMkLst>
            <pc:docMk/>
            <pc:sldMk cId="1261594426" sldId="2272"/>
            <ac:spMk id="24" creationId="{3C902C3C-F5F7-93AB-F435-454396E01B7C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29" creationId="{129E9F0C-5697-3151-E6E7-297C52D86DCF}"/>
          </ac:spMkLst>
        </pc:spChg>
        <pc:spChg chg="mod">
          <ac:chgData name="Timur Karimsakov" userId="ea04722c-9be7-49ff-9a17-c5a9c646d8a7" providerId="ADAL" clId="{7E6D9E73-6517-4564-A367-6425B5557C17}" dt="2024-11-26T11:49:31.445" v="519" actId="1076"/>
          <ac:spMkLst>
            <pc:docMk/>
            <pc:sldMk cId="1261594426" sldId="2272"/>
            <ac:spMk id="30" creationId="{2B72A479-F249-484B-4796-D3C6F90CFBD3}"/>
          </ac:spMkLst>
        </pc:spChg>
        <pc:spChg chg="mod">
          <ac:chgData name="Timur Karimsakov" userId="ea04722c-9be7-49ff-9a17-c5a9c646d8a7" providerId="ADAL" clId="{7E6D9E73-6517-4564-A367-6425B5557C17}" dt="2024-11-26T11:48:40.178" v="493" actId="20577"/>
          <ac:spMkLst>
            <pc:docMk/>
            <pc:sldMk cId="1261594426" sldId="2272"/>
            <ac:spMk id="31" creationId="{F2779E52-9328-13C5-AD85-F6133651076F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4" creationId="{9FE0F184-C9AF-AC04-3E30-C55A4A3B9B8E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5" creationId="{0E568FF3-522F-8D19-C6AE-59F08C1E63C7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6" creationId="{1AB39940-B6BB-39BB-DEA0-CB580124B6F7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7" creationId="{3023CE93-F12B-ADC9-6E3F-F8AB732E1300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8" creationId="{F542C422-31A7-9849-10A3-52C8D0E4D336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39" creationId="{29688049-F23A-395A-25C6-314DDBD65E5E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0" creationId="{35F3DD4B-55A6-0B13-F3ED-0F330E5F6635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1" creationId="{A6E08516-03AF-358F-69EC-84FD9FB1B58F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2" creationId="{73701107-54CB-0A94-310E-E840D333496C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4" creationId="{0507A6F5-6E7A-4BE4-A6F1-3C04B322B6C7}"/>
          </ac:spMkLst>
        </pc:spChg>
        <pc:spChg chg="mod">
          <ac:chgData name="Timur Karimsakov" userId="ea04722c-9be7-49ff-9a17-c5a9c646d8a7" providerId="ADAL" clId="{7E6D9E73-6517-4564-A367-6425B5557C17}" dt="2024-11-26T11:49:36.590" v="520" actId="1076"/>
          <ac:spMkLst>
            <pc:docMk/>
            <pc:sldMk cId="1261594426" sldId="2272"/>
            <ac:spMk id="45" creationId="{C7E754B8-805A-FC8A-6CFB-E64E277689AE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6" creationId="{2C7EFA48-4D32-7415-69BF-29DA7FC38CA2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7" creationId="{0705B802-ABFD-A749-C468-017D1A742708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8" creationId="{924D3FC6-D1A6-600F-91AA-F0D9E5721CE5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49" creationId="{ADEC405B-1B05-DF63-7BE7-E7FB6D20CE3A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50" creationId="{C8C616E0-C370-425F-59E0-4501F1BE84F4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52" creationId="{3C5DC641-6698-E2E5-DEE3-1CCD98D7DC7C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53" creationId="{E237DCA6-DEF5-6CB5-1592-507FAC6608C5}"/>
          </ac:spMkLst>
        </pc:spChg>
        <pc:spChg chg="add mod">
          <ac:chgData name="Timur Karimsakov" userId="ea04722c-9be7-49ff-9a17-c5a9c646d8a7" providerId="ADAL" clId="{7E6D9E73-6517-4564-A367-6425B5557C17}" dt="2024-11-26T11:50:01.706" v="523"/>
          <ac:spMkLst>
            <pc:docMk/>
            <pc:sldMk cId="1261594426" sldId="2272"/>
            <ac:spMk id="54" creationId="{17637C36-FE35-1592-1DE7-FB991C4A48CC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56" creationId="{06F6B044-BB4C-06E7-6B48-7238EAD475D2}"/>
          </ac:spMkLst>
        </pc:spChg>
        <pc:spChg chg="add mod">
          <ac:chgData name="Timur Karimsakov" userId="ea04722c-9be7-49ff-9a17-c5a9c646d8a7" providerId="ADAL" clId="{7E6D9E73-6517-4564-A367-6425B5557C17}" dt="2024-11-26T11:52:10.484" v="556"/>
          <ac:spMkLst>
            <pc:docMk/>
            <pc:sldMk cId="1261594426" sldId="2272"/>
            <ac:spMk id="57" creationId="{0ED9A9AE-41E1-F160-A2A3-DA8031F593FF}"/>
          </ac:spMkLst>
        </pc:spChg>
        <pc:spChg chg="add mod">
          <ac:chgData name="Timur Karimsakov" userId="ea04722c-9be7-49ff-9a17-c5a9c646d8a7" providerId="ADAL" clId="{7E6D9E73-6517-4564-A367-6425B5557C17}" dt="2024-11-26T11:51:24.283" v="550" actId="20577"/>
          <ac:spMkLst>
            <pc:docMk/>
            <pc:sldMk cId="1261594426" sldId="2272"/>
            <ac:spMk id="58" creationId="{9FDAAEAD-F9F3-F2C5-0B2C-A72F67FF8DD0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59" creationId="{D672E0E5-A71B-0B45-0ABC-9CB99956DF27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0" creationId="{C86ABB32-612E-2741-3F67-26CE2B0B4E59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1" creationId="{BC0E21B5-181F-1FB3-3E46-9AAB6560D15D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2" creationId="{30680125-DF27-B102-2EF6-D947EA39DAA0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3" creationId="{DB6A387E-52B2-6D5E-1740-42603143BCD9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4" creationId="{5F84818B-700B-9ED7-C604-53A7C2BBC2C5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5" creationId="{2DFCFBF2-A4AD-1E7B-352E-22BD0854EBB5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6" creationId="{48D68DFD-FE88-D8B0-09C3-44089B7E1EC2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7" creationId="{A270FF40-B9D3-6961-65A1-2DB2E5B0B09C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8" creationId="{0B49B8DA-9CF6-87ED-5920-F4C8246F4D34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69" creationId="{DFB1CF14-973F-AA88-A001-9848D9B85AC0}"/>
          </ac:spMkLst>
        </pc:spChg>
        <pc:spChg chg="add mod">
          <ac:chgData name="Timur Karimsakov" userId="ea04722c-9be7-49ff-9a17-c5a9c646d8a7" providerId="ADAL" clId="{7E6D9E73-6517-4564-A367-6425B5557C17}" dt="2024-11-26T11:51:15.396" v="543"/>
          <ac:spMkLst>
            <pc:docMk/>
            <pc:sldMk cId="1261594426" sldId="2272"/>
            <ac:spMk id="70" creationId="{01FF01BD-971F-286C-5861-902EE7FAEDC4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71" creationId="{CE491952-3AB3-9FD7-8951-12CA28B6EECB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72" creationId="{C11246D2-B9FB-E296-C745-D62CE3937417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73" creationId="{2D992785-773D-1CE8-A2A5-1ADF5DB96E8C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74" creationId="{E991646E-A8F2-59D5-A098-AA2EBC1F6A59}"/>
          </ac:spMkLst>
        </pc:spChg>
        <pc:spChg chg="add mod">
          <ac:chgData name="Timur Karimsakov" userId="ea04722c-9be7-49ff-9a17-c5a9c646d8a7" providerId="ADAL" clId="{7E6D9E73-6517-4564-A367-6425B5557C17}" dt="2024-11-26T11:51:37.017" v="551"/>
          <ac:spMkLst>
            <pc:docMk/>
            <pc:sldMk cId="1261594426" sldId="2272"/>
            <ac:spMk id="75" creationId="{83792330-F348-7BFC-E257-347E012AB71E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76" creationId="{6FDB3971-EECF-EA98-6396-E3A8AE79946B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77" creationId="{1D96F6E4-964A-3D29-2942-D688C492B5BD}"/>
          </ac:spMkLst>
        </pc:spChg>
        <pc:spChg chg="add mod">
          <ac:chgData name="Timur Karimsakov" userId="ea04722c-9be7-49ff-9a17-c5a9c646d8a7" providerId="ADAL" clId="{7E6D9E73-6517-4564-A367-6425B5557C17}" dt="2024-11-26T11:51:50.039" v="552"/>
          <ac:spMkLst>
            <pc:docMk/>
            <pc:sldMk cId="1261594426" sldId="2272"/>
            <ac:spMk id="78" creationId="{5CC7486A-E0A5-C7A5-E0C4-40F296DB64BC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79" creationId="{E3C6A7FD-C86A-81E4-FD5D-55EDE96D7153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1" creationId="{96A0F0B5-8891-494B-99BB-A9C69D2898B3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82" creationId="{185F64B6-53E9-3805-3600-E5B96754C9E7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3" creationId="{F877F843-6F08-6C4C-CE8A-096C8CA3351A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4" creationId="{6E06EAFA-0B8E-1D2E-E30D-E226E5D2C506}"/>
          </ac:spMkLst>
        </pc:spChg>
        <pc:spChg chg="mod">
          <ac:chgData name="Timur Karimsakov" userId="ea04722c-9be7-49ff-9a17-c5a9c646d8a7" providerId="ADAL" clId="{7E6D9E73-6517-4564-A367-6425B5557C17}" dt="2024-11-27T05:50:04.045" v="1397" actId="20577"/>
          <ac:spMkLst>
            <pc:docMk/>
            <pc:sldMk cId="1261594426" sldId="2272"/>
            <ac:spMk id="86" creationId="{9EF1E2AC-B7F0-9755-A337-6F10DC256FDC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7" creationId="{4C093917-45B9-19F6-8A51-898B44D311E2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8" creationId="{6BBC7A70-7ADA-56C5-1528-2711255BC76E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89" creationId="{2B111A1F-BD24-EE30-750F-122ECD535E82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0" creationId="{7ABB4676-8EE7-24FC-245D-59BFBF6CBE84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1" creationId="{3D745CEB-63C1-9683-65AA-1B3CD1B9AC76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2" creationId="{C882F06D-77DD-FFD0-D0F4-C3C9103A2241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3" creationId="{0BA03DE3-7E98-FB2C-3296-EB974EDB3F5A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4" creationId="{E8D6EEF0-9C80-0629-0B66-40B452CBFD80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5" creationId="{B2AC74B0-CFC0-0AB6-B016-ABB9B75A3445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6" creationId="{E1D943F2-AA58-9656-7ACC-4D3D69D55768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7" creationId="{34F01091-74D6-DA97-4B3E-1BCCD92A29A3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8" creationId="{5FAA098D-10D1-197C-1503-09758A5592A2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99" creationId="{74ECEA3C-F3D8-995A-B32A-6B07AF3736FC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0" creationId="{0D36ECB3-7BF8-18F4-125A-D414279DDCBF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1" creationId="{434A1D0E-2100-DA46-0DBF-E6D456C93F0B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2" creationId="{3CDEE3D8-DCF4-1E2F-B7A3-46C0A884A4FE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3" creationId="{F25D5F82-B5DC-ADB4-8EAC-152FC30F6D5A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4" creationId="{55B8B073-33B4-CEB5-66FB-5DD6B85A5EA4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5" creationId="{DEB6EAED-AC4B-0635-0333-ED8AE33D1033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6" creationId="{A0C1D38E-234E-7968-748C-226C171396F3}"/>
          </ac:spMkLst>
        </pc:spChg>
        <pc:spChg chg="add del">
          <ac:chgData name="Timur Karimsakov" userId="ea04722c-9be7-49ff-9a17-c5a9c646d8a7" providerId="ADAL" clId="{7E6D9E73-6517-4564-A367-6425B5557C17}" dt="2024-11-26T11:50:29.832" v="530" actId="478"/>
          <ac:spMkLst>
            <pc:docMk/>
            <pc:sldMk cId="1261594426" sldId="2272"/>
            <ac:spMk id="107" creationId="{1EF0BC09-9D7B-3E0D-AB06-3405C510DBA1}"/>
          </ac:spMkLst>
        </pc:spChg>
        <pc:spChg chg="add mod">
          <ac:chgData name="Timur Karimsakov" userId="ea04722c-9be7-49ff-9a17-c5a9c646d8a7" providerId="ADAL" clId="{7E6D9E73-6517-4564-A367-6425B5557C17}" dt="2024-11-26T11:51:58.660" v="553"/>
          <ac:spMkLst>
            <pc:docMk/>
            <pc:sldMk cId="1261594426" sldId="2272"/>
            <ac:spMk id="108" creationId="{E9D785D1-8548-60B6-6B2F-3479E1AC5FE5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109" creationId="{2A9977AF-87C0-5A9B-E255-CB6D0157D794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110" creationId="{E524FFA5-1F53-CE72-26C8-AFB0266FA1A9}"/>
          </ac:spMkLst>
        </pc:spChg>
        <pc:spChg chg="add mod">
          <ac:chgData name="Timur Karimsakov" userId="ea04722c-9be7-49ff-9a17-c5a9c646d8a7" providerId="ADAL" clId="{7E6D9E73-6517-4564-A367-6425B5557C17}" dt="2024-11-26T11:50:39.826" v="532"/>
          <ac:spMkLst>
            <pc:docMk/>
            <pc:sldMk cId="1261594426" sldId="2272"/>
            <ac:spMk id="111" creationId="{3D790075-D7E2-F04C-AB67-AC12207C77AB}"/>
          </ac:spMkLst>
        </pc:spChg>
        <pc:spChg chg="add mod">
          <ac:chgData name="Timur Karimsakov" userId="ea04722c-9be7-49ff-9a17-c5a9c646d8a7" providerId="ADAL" clId="{7E6D9E73-6517-4564-A367-6425B5557C17}" dt="2024-11-26T11:51:07.012" v="542"/>
          <ac:spMkLst>
            <pc:docMk/>
            <pc:sldMk cId="1261594426" sldId="2272"/>
            <ac:spMk id="112" creationId="{47A7E164-AAB3-D1C0-172E-E6484AD7CC4B}"/>
          </ac:spMkLst>
        </pc:spChg>
        <pc:spChg chg="add mod">
          <ac:chgData name="Timur Karimsakov" userId="ea04722c-9be7-49ff-9a17-c5a9c646d8a7" providerId="ADAL" clId="{7E6D9E73-6517-4564-A367-6425B5557C17}" dt="2024-11-26T11:54:02.717" v="685" actId="20577"/>
          <ac:spMkLst>
            <pc:docMk/>
            <pc:sldMk cId="1261594426" sldId="2272"/>
            <ac:spMk id="114" creationId="{94A33B26-7243-4A11-091F-CD34CBE69720}"/>
          </ac:spMkLst>
        </pc:spChg>
        <pc:graphicFrameChg chg="del">
          <ac:chgData name="Timur Karimsakov" userId="ea04722c-9be7-49ff-9a17-c5a9c646d8a7" providerId="ADAL" clId="{7E6D9E73-6517-4564-A367-6425B5557C17}" dt="2024-11-26T11:47:46.990" v="475" actId="478"/>
          <ac:graphicFrameMkLst>
            <pc:docMk/>
            <pc:sldMk cId="1261594426" sldId="2272"/>
            <ac:graphicFrameMk id="3" creationId="{C5138E11-B501-721B-1FF9-70017CD06F88}"/>
          </ac:graphicFrameMkLst>
        </pc:graphicFrameChg>
        <pc:graphicFrameChg chg="add del mod">
          <ac:chgData name="Timur Karimsakov" userId="ea04722c-9be7-49ff-9a17-c5a9c646d8a7" providerId="ADAL" clId="{7E6D9E73-6517-4564-A367-6425B5557C17}" dt="2024-11-26T11:48:21.766" v="477" actId="478"/>
          <ac:graphicFrameMkLst>
            <pc:docMk/>
            <pc:sldMk cId="1261594426" sldId="2272"/>
            <ac:graphicFrameMk id="5" creationId="{BEF8E7EE-FBF6-87BA-E9DD-A3F4F2BAC549}"/>
          </ac:graphicFrameMkLst>
        </pc:graphicFrameChg>
        <pc:graphicFrameChg chg="add mod">
          <ac:chgData name="Timur Karimsakov" userId="ea04722c-9be7-49ff-9a17-c5a9c646d8a7" providerId="ADAL" clId="{7E6D9E73-6517-4564-A367-6425B5557C17}" dt="2024-11-26T11:48:31.766" v="479" actId="167"/>
          <ac:graphicFrameMkLst>
            <pc:docMk/>
            <pc:sldMk cId="1261594426" sldId="2272"/>
            <ac:graphicFrameMk id="6" creationId="{F839CC89-725E-E995-BED3-B40FF4B9BCCC}"/>
          </ac:graphicFrameMkLst>
        </pc:graphicFrameChg>
        <pc:graphicFrameChg chg="add del">
          <ac:chgData name="Timur Karimsakov" userId="ea04722c-9be7-49ff-9a17-c5a9c646d8a7" providerId="ADAL" clId="{7E6D9E73-6517-4564-A367-6425B5557C17}" dt="2024-11-26T11:50:33.427" v="531" actId="478"/>
          <ac:graphicFrameMkLst>
            <pc:docMk/>
            <pc:sldMk cId="1261594426" sldId="2272"/>
            <ac:graphicFrameMk id="15" creationId="{FF87ACB7-435A-596F-99E5-E164909633CE}"/>
          </ac:graphicFrameMkLst>
        </pc:graphicFrameChg>
        <pc:graphicFrameChg chg="add mod">
          <ac:chgData name="Timur Karimsakov" userId="ea04722c-9be7-49ff-9a17-c5a9c646d8a7" providerId="ADAL" clId="{7E6D9E73-6517-4564-A367-6425B5557C17}" dt="2024-11-26T11:50:10.109" v="525"/>
          <ac:graphicFrameMkLst>
            <pc:docMk/>
            <pc:sldMk cId="1261594426" sldId="2272"/>
            <ac:graphicFrameMk id="55" creationId="{6B2155C1-4791-3836-87BF-9CE0DA41C298}"/>
          </ac:graphicFrameMkLst>
        </pc:graphicFrameChg>
        <pc:graphicFrameChg chg="add mod">
          <ac:chgData name="Timur Karimsakov" userId="ea04722c-9be7-49ff-9a17-c5a9c646d8a7" providerId="ADAL" clId="{7E6D9E73-6517-4564-A367-6425B5557C17}" dt="2024-11-26T11:50:42.945" v="533"/>
          <ac:graphicFrameMkLst>
            <pc:docMk/>
            <pc:sldMk cId="1261594426" sldId="2272"/>
            <ac:graphicFrameMk id="113" creationId="{EF8A7F65-32C1-6D83-076B-85EABF1FF96D}"/>
          </ac:graphicFrameMkLst>
        </pc:graphicFrameChg>
        <pc:cxnChg chg="mod">
          <ac:chgData name="Timur Karimsakov" userId="ea04722c-9be7-49ff-9a17-c5a9c646d8a7" providerId="ADAL" clId="{7E6D9E73-6517-4564-A367-6425B5557C17}" dt="2024-11-26T11:49:17.042" v="513" actId="1037"/>
          <ac:cxnSpMkLst>
            <pc:docMk/>
            <pc:sldMk cId="1261594426" sldId="2272"/>
            <ac:cxnSpMk id="25" creationId="{C740CE04-ADF9-E0E8-EEC4-429525547EAD}"/>
          </ac:cxnSpMkLst>
        </pc:cxnChg>
        <pc:cxnChg chg="mod">
          <ac:chgData name="Timur Karimsakov" userId="ea04722c-9be7-49ff-9a17-c5a9c646d8a7" providerId="ADAL" clId="{7E6D9E73-6517-4564-A367-6425B5557C17}" dt="2024-11-26T11:49:14.545" v="509" actId="1037"/>
          <ac:cxnSpMkLst>
            <pc:docMk/>
            <pc:sldMk cId="1261594426" sldId="2272"/>
            <ac:cxnSpMk id="26" creationId="{E50AF66E-15D2-7DA4-99FF-413915CEB84F}"/>
          </ac:cxnSpMkLst>
        </pc:cxnChg>
        <pc:cxnChg chg="mod">
          <ac:chgData name="Timur Karimsakov" userId="ea04722c-9be7-49ff-9a17-c5a9c646d8a7" providerId="ADAL" clId="{7E6D9E73-6517-4564-A367-6425B5557C17}" dt="2024-11-26T11:49:24.679" v="518" actId="1037"/>
          <ac:cxnSpMkLst>
            <pc:docMk/>
            <pc:sldMk cId="1261594426" sldId="2272"/>
            <ac:cxnSpMk id="28" creationId="{3FBE953C-0362-4ED9-2A41-D6E8894067D6}"/>
          </ac:cxnSpMkLst>
        </pc:cxnChg>
        <pc:cxnChg chg="mod">
          <ac:chgData name="Timur Karimsakov" userId="ea04722c-9be7-49ff-9a17-c5a9c646d8a7" providerId="ADAL" clId="{7E6D9E73-6517-4564-A367-6425B5557C17}" dt="2024-11-26T11:48:55.149" v="496" actId="14100"/>
          <ac:cxnSpMkLst>
            <pc:docMk/>
            <pc:sldMk cId="1261594426" sldId="2272"/>
            <ac:cxnSpMk id="32" creationId="{3AC7371A-5620-E525-F120-6F01696EAADD}"/>
          </ac:cxnSpMkLst>
        </pc:cxnChg>
      </pc:sldChg>
      <pc:sldChg chg="modSp mod">
        <pc:chgData name="Timur Karimsakov" userId="ea04722c-9be7-49ff-9a17-c5a9c646d8a7" providerId="ADAL" clId="{7E6D9E73-6517-4564-A367-6425B5557C17}" dt="2024-11-26T11:38:00.144" v="163" actId="20577"/>
        <pc:sldMkLst>
          <pc:docMk/>
          <pc:sldMk cId="4135786988" sldId="2275"/>
        </pc:sldMkLst>
        <pc:spChg chg="mod">
          <ac:chgData name="Timur Karimsakov" userId="ea04722c-9be7-49ff-9a17-c5a9c646d8a7" providerId="ADAL" clId="{7E6D9E73-6517-4564-A367-6425B5557C17}" dt="2024-11-26T11:38:00.144" v="163" actId="20577"/>
          <ac:spMkLst>
            <pc:docMk/>
            <pc:sldMk cId="4135786988" sldId="2275"/>
            <ac:spMk id="2" creationId="{BD2CB8FC-6BA7-8072-C621-DF5C7DA19DDD}"/>
          </ac:spMkLst>
        </pc:spChg>
        <pc:spChg chg="mod">
          <ac:chgData name="Timur Karimsakov" userId="ea04722c-9be7-49ff-9a17-c5a9c646d8a7" providerId="ADAL" clId="{7E6D9E73-6517-4564-A367-6425B5557C17}" dt="2024-11-26T11:35:10.402" v="65" actId="6549"/>
          <ac:spMkLst>
            <pc:docMk/>
            <pc:sldMk cId="4135786988" sldId="2275"/>
            <ac:spMk id="4" creationId="{235083C2-5757-7E48-3DD7-E82083F8F912}"/>
          </ac:spMkLst>
        </pc:spChg>
        <pc:spChg chg="mod">
          <ac:chgData name="Timur Karimsakov" userId="ea04722c-9be7-49ff-9a17-c5a9c646d8a7" providerId="ADAL" clId="{7E6D9E73-6517-4564-A367-6425B5557C17}" dt="2024-11-26T11:36:24.576" v="78" actId="20577"/>
          <ac:spMkLst>
            <pc:docMk/>
            <pc:sldMk cId="4135786988" sldId="2275"/>
            <ac:spMk id="7" creationId="{FA2B7AA0-84FC-A631-E83E-60EE4859D69D}"/>
          </ac:spMkLst>
        </pc:spChg>
        <pc:spChg chg="mod">
          <ac:chgData name="Timur Karimsakov" userId="ea04722c-9be7-49ff-9a17-c5a9c646d8a7" providerId="ADAL" clId="{7E6D9E73-6517-4564-A367-6425B5557C17}" dt="2024-11-26T11:35:03.102" v="55" actId="20577"/>
          <ac:spMkLst>
            <pc:docMk/>
            <pc:sldMk cId="4135786988" sldId="2275"/>
            <ac:spMk id="8" creationId="{5AFE7194-754A-139A-129B-C29D97705FDC}"/>
          </ac:spMkLst>
        </pc:spChg>
        <pc:spChg chg="mod">
          <ac:chgData name="Timur Karimsakov" userId="ea04722c-9be7-49ff-9a17-c5a9c646d8a7" providerId="ADAL" clId="{7E6D9E73-6517-4564-A367-6425B5557C17}" dt="2024-11-26T11:37:03.206" v="116" actId="20577"/>
          <ac:spMkLst>
            <pc:docMk/>
            <pc:sldMk cId="4135786988" sldId="2275"/>
            <ac:spMk id="11" creationId="{6F011FB5-53E4-FDC2-9DA5-A8B7BCFEBDC3}"/>
          </ac:spMkLst>
        </pc:spChg>
        <pc:spChg chg="mod">
          <ac:chgData name="Timur Karimsakov" userId="ea04722c-9be7-49ff-9a17-c5a9c646d8a7" providerId="ADAL" clId="{7E6D9E73-6517-4564-A367-6425B5557C17}" dt="2024-11-26T11:36:51.944" v="91" actId="20577"/>
          <ac:spMkLst>
            <pc:docMk/>
            <pc:sldMk cId="4135786988" sldId="2275"/>
            <ac:spMk id="23" creationId="{8C3CDE9E-035D-BFE2-205C-1E57970DE1EB}"/>
          </ac:spMkLst>
        </pc:spChg>
        <pc:spChg chg="mod">
          <ac:chgData name="Timur Karimsakov" userId="ea04722c-9be7-49ff-9a17-c5a9c646d8a7" providerId="ADAL" clId="{7E6D9E73-6517-4564-A367-6425B5557C17}" dt="2024-11-26T11:35:20.758" v="73" actId="20577"/>
          <ac:spMkLst>
            <pc:docMk/>
            <pc:sldMk cId="4135786988" sldId="2275"/>
            <ac:spMk id="24" creationId="{FFAFFEA8-1DF7-6FF3-BBB3-5C7EA0C9F237}"/>
          </ac:spMkLst>
        </pc:spChg>
        <pc:spChg chg="mod">
          <ac:chgData name="Timur Karimsakov" userId="ea04722c-9be7-49ff-9a17-c5a9c646d8a7" providerId="ADAL" clId="{7E6D9E73-6517-4564-A367-6425B5557C17}" dt="2024-11-26T11:34:46.482" v="30" actId="20577"/>
          <ac:spMkLst>
            <pc:docMk/>
            <pc:sldMk cId="4135786988" sldId="2275"/>
            <ac:spMk id="27" creationId="{52BC447A-6F39-66A3-FE03-5C4E6B746FC4}"/>
          </ac:spMkLst>
        </pc:spChg>
        <pc:spChg chg="mod">
          <ac:chgData name="Timur Karimsakov" userId="ea04722c-9be7-49ff-9a17-c5a9c646d8a7" providerId="ADAL" clId="{7E6D9E73-6517-4564-A367-6425B5557C17}" dt="2024-11-26T11:34:57.713" v="51" actId="6549"/>
          <ac:spMkLst>
            <pc:docMk/>
            <pc:sldMk cId="4135786988" sldId="2275"/>
            <ac:spMk id="28" creationId="{80EBAB59-C220-B3D0-45BE-A587F6369F63}"/>
          </ac:spMkLst>
        </pc:spChg>
        <pc:spChg chg="mod">
          <ac:chgData name="Timur Karimsakov" userId="ea04722c-9be7-49ff-9a17-c5a9c646d8a7" providerId="ADAL" clId="{7E6D9E73-6517-4564-A367-6425B5557C17}" dt="2024-11-26T11:36:16.135" v="76" actId="20577"/>
          <ac:spMkLst>
            <pc:docMk/>
            <pc:sldMk cId="4135786988" sldId="2275"/>
            <ac:spMk id="29" creationId="{0D44198A-15FA-6196-A1B4-4A48106931E3}"/>
          </ac:spMkLst>
        </pc:spChg>
      </pc:sldChg>
      <pc:sldChg chg="addSp delSp modSp mod">
        <pc:chgData name="Timur Karimsakov" userId="ea04722c-9be7-49ff-9a17-c5a9c646d8a7" providerId="ADAL" clId="{7E6D9E73-6517-4564-A367-6425B5557C17}" dt="2024-11-26T12:46:25.495" v="1371" actId="1036"/>
        <pc:sldMkLst>
          <pc:docMk/>
          <pc:sldMk cId="3793422932" sldId="2276"/>
        </pc:sldMkLst>
        <pc:spChg chg="add mod">
          <ac:chgData name="Timur Karimsakov" userId="ea04722c-9be7-49ff-9a17-c5a9c646d8a7" providerId="ADAL" clId="{7E6D9E73-6517-4564-A367-6425B5557C17}" dt="2024-11-26T12:45:34.981" v="1307" actId="20577"/>
          <ac:spMkLst>
            <pc:docMk/>
            <pc:sldMk cId="3793422932" sldId="2276"/>
            <ac:spMk id="3" creationId="{888802F1-4D29-D1FD-5812-5C9DD0CEE6BC}"/>
          </ac:spMkLst>
        </pc:spChg>
        <pc:spChg chg="add mod">
          <ac:chgData name="Timur Karimsakov" userId="ea04722c-9be7-49ff-9a17-c5a9c646d8a7" providerId="ADAL" clId="{7E6D9E73-6517-4564-A367-6425B5557C17}" dt="2024-11-26T12:45:41.845" v="1315" actId="14100"/>
          <ac:spMkLst>
            <pc:docMk/>
            <pc:sldMk cId="3793422932" sldId="2276"/>
            <ac:spMk id="4" creationId="{62FF2EF0-F697-5D2E-57A8-8E2C9493A7A0}"/>
          </ac:spMkLst>
        </pc:spChg>
        <pc:spChg chg="add mod">
          <ac:chgData name="Timur Karimsakov" userId="ea04722c-9be7-49ff-9a17-c5a9c646d8a7" providerId="ADAL" clId="{7E6D9E73-6517-4564-A367-6425B5557C17}" dt="2024-11-26T12:45:45.822" v="1319" actId="20577"/>
          <ac:spMkLst>
            <pc:docMk/>
            <pc:sldMk cId="3793422932" sldId="2276"/>
            <ac:spMk id="5" creationId="{B6DB1768-14BD-2972-DB10-B8F29D767264}"/>
          </ac:spMkLst>
        </pc:spChg>
        <pc:spChg chg="add mod">
          <ac:chgData name="Timur Karimsakov" userId="ea04722c-9be7-49ff-9a17-c5a9c646d8a7" providerId="ADAL" clId="{7E6D9E73-6517-4564-A367-6425B5557C17}" dt="2024-11-26T12:45:53.124" v="1326" actId="14100"/>
          <ac:spMkLst>
            <pc:docMk/>
            <pc:sldMk cId="3793422932" sldId="2276"/>
            <ac:spMk id="6" creationId="{899F54F9-1B42-66C9-AE35-1B4623223629}"/>
          </ac:spMkLst>
        </pc:spChg>
        <pc:spChg chg="add mod">
          <ac:chgData name="Timur Karimsakov" userId="ea04722c-9be7-49ff-9a17-c5a9c646d8a7" providerId="ADAL" clId="{7E6D9E73-6517-4564-A367-6425B5557C17}" dt="2024-11-26T12:45:55.231" v="1329" actId="20577"/>
          <ac:spMkLst>
            <pc:docMk/>
            <pc:sldMk cId="3793422932" sldId="2276"/>
            <ac:spMk id="8" creationId="{126E1A67-E1E0-62CB-A9EB-7C4803F25117}"/>
          </ac:spMkLst>
        </pc:spChg>
        <pc:spChg chg="add mod">
          <ac:chgData name="Timur Karimsakov" userId="ea04722c-9be7-49ff-9a17-c5a9c646d8a7" providerId="ADAL" clId="{7E6D9E73-6517-4564-A367-6425B5557C17}" dt="2024-11-26T12:45:57.766" v="1333" actId="20577"/>
          <ac:spMkLst>
            <pc:docMk/>
            <pc:sldMk cId="3793422932" sldId="2276"/>
            <ac:spMk id="9" creationId="{AD263EB9-0494-65EB-9E6A-4961029213C2}"/>
          </ac:spMkLst>
        </pc:spChg>
        <pc:spChg chg="add mod">
          <ac:chgData name="Timur Karimsakov" userId="ea04722c-9be7-49ff-9a17-c5a9c646d8a7" providerId="ADAL" clId="{7E6D9E73-6517-4564-A367-6425B5557C17}" dt="2024-11-26T12:46:00.789" v="1337" actId="20577"/>
          <ac:spMkLst>
            <pc:docMk/>
            <pc:sldMk cId="3793422932" sldId="2276"/>
            <ac:spMk id="10" creationId="{637AF3A0-16E2-CC60-7C9D-A78FEC0D02CD}"/>
          </ac:spMkLst>
        </pc:spChg>
        <pc:spChg chg="add mod">
          <ac:chgData name="Timur Karimsakov" userId="ea04722c-9be7-49ff-9a17-c5a9c646d8a7" providerId="ADAL" clId="{7E6D9E73-6517-4564-A367-6425B5557C17}" dt="2024-11-26T12:46:03.130" v="1343" actId="20577"/>
          <ac:spMkLst>
            <pc:docMk/>
            <pc:sldMk cId="3793422932" sldId="2276"/>
            <ac:spMk id="11" creationId="{C9D893B4-C0EB-2EF8-9559-ED908E6843E4}"/>
          </ac:spMkLst>
        </pc:spChg>
        <pc:spChg chg="add mod">
          <ac:chgData name="Timur Karimsakov" userId="ea04722c-9be7-49ff-9a17-c5a9c646d8a7" providerId="ADAL" clId="{7E6D9E73-6517-4564-A367-6425B5557C17}" dt="2024-11-26T12:46:06.582" v="1353" actId="20577"/>
          <ac:spMkLst>
            <pc:docMk/>
            <pc:sldMk cId="3793422932" sldId="2276"/>
            <ac:spMk id="12" creationId="{ACB8484D-567C-2343-A44F-E5AE035787CC}"/>
          </ac:spMkLst>
        </pc:spChg>
        <pc:spChg chg="add mod">
          <ac:chgData name="Timur Karimsakov" userId="ea04722c-9be7-49ff-9a17-c5a9c646d8a7" providerId="ADAL" clId="{7E6D9E73-6517-4564-A367-6425B5557C17}" dt="2024-11-26T12:46:10.570" v="1360" actId="20577"/>
          <ac:spMkLst>
            <pc:docMk/>
            <pc:sldMk cId="3793422932" sldId="2276"/>
            <ac:spMk id="14" creationId="{BDB19851-0D9A-60ED-8E00-2CD02A6D1713}"/>
          </ac:spMkLst>
        </pc:spChg>
        <pc:spChg chg="add mod">
          <ac:chgData name="Timur Karimsakov" userId="ea04722c-9be7-49ff-9a17-c5a9c646d8a7" providerId="ADAL" clId="{7E6D9E73-6517-4564-A367-6425B5557C17}" dt="2024-11-26T12:46:14.224" v="1368" actId="20577"/>
          <ac:spMkLst>
            <pc:docMk/>
            <pc:sldMk cId="3793422932" sldId="2276"/>
            <ac:spMk id="15" creationId="{ED3AEA65-5553-6543-0D8F-CFD2EACA4FA9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34" creationId="{FA5A93A8-B628-7F13-0927-29B4BB7E5DA8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38" creationId="{F708C74D-4461-0312-C080-5C4E7D89EA45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39" creationId="{EC5A2092-B9BE-783B-EDBF-7067523F23B7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0" creationId="{00A474E5-0A27-036D-A40B-2C23BA8BBC88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1" creationId="{771AA7BF-6897-2CBE-2106-E5C6EC797774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2" creationId="{62B875D9-5DB6-C312-7A8C-28AFF69EDDE2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3" creationId="{9CDDA0A4-523F-1936-01BB-B3B53A171209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4" creationId="{C3FCFD4C-F527-0EE5-24B2-CDA5F57A952C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5" creationId="{CA1CCD24-4921-9A37-807F-A9BB0B8060D3}"/>
          </ac:spMkLst>
        </pc:spChg>
        <pc:spChg chg="del">
          <ac:chgData name="Timur Karimsakov" userId="ea04722c-9be7-49ff-9a17-c5a9c646d8a7" providerId="ADAL" clId="{7E6D9E73-6517-4564-A367-6425B5557C17}" dt="2024-11-26T12:45:30.679" v="1300" actId="478"/>
          <ac:spMkLst>
            <pc:docMk/>
            <pc:sldMk cId="3793422932" sldId="2276"/>
            <ac:spMk id="46" creationId="{08677218-FC5E-373D-1FE6-01E86F37CCAF}"/>
          </ac:spMkLst>
        </pc:spChg>
        <pc:graphicFrameChg chg="add mod">
          <ac:chgData name="Timur Karimsakov" userId="ea04722c-9be7-49ff-9a17-c5a9c646d8a7" providerId="ADAL" clId="{7E6D9E73-6517-4564-A367-6425B5557C17}" dt="2024-11-26T12:45:31.413" v="1301"/>
          <ac:graphicFrameMkLst>
            <pc:docMk/>
            <pc:sldMk cId="3793422932" sldId="2276"/>
            <ac:graphicFrameMk id="2" creationId="{1785969E-D23C-50A1-3274-A0B0F66E1091}"/>
          </ac:graphicFrameMkLst>
        </pc:graphicFrameChg>
        <pc:graphicFrameChg chg="del">
          <ac:chgData name="Timur Karimsakov" userId="ea04722c-9be7-49ff-9a17-c5a9c646d8a7" providerId="ADAL" clId="{7E6D9E73-6517-4564-A367-6425B5557C17}" dt="2024-11-26T12:45:30.679" v="1300" actId="478"/>
          <ac:graphicFrameMkLst>
            <pc:docMk/>
            <pc:sldMk cId="3793422932" sldId="2276"/>
            <ac:graphicFrameMk id="19" creationId="{ABD5945D-94C7-4909-93DB-B1A607DDE416}"/>
          </ac:graphicFrameMkLst>
        </pc:graphicFrameChg>
        <pc:cxnChg chg="add mod">
          <ac:chgData name="Timur Karimsakov" userId="ea04722c-9be7-49ff-9a17-c5a9c646d8a7" providerId="ADAL" clId="{7E6D9E73-6517-4564-A367-6425B5557C17}" dt="2024-11-26T12:46:25.495" v="1371" actId="1036"/>
          <ac:cxnSpMkLst>
            <pc:docMk/>
            <pc:sldMk cId="3793422932" sldId="2276"/>
            <ac:cxnSpMk id="16" creationId="{E01A9E68-5138-B07E-0F4E-F06C98684B75}"/>
          </ac:cxnSpMkLst>
        </pc:cxnChg>
      </pc:sldChg>
      <pc:sldChg chg="modSp add mod">
        <pc:chgData name="Timur Karimsakov" userId="ea04722c-9be7-49ff-9a17-c5a9c646d8a7" providerId="ADAL" clId="{7E6D9E73-6517-4564-A367-6425B5557C17}" dt="2024-11-27T05:48:29.797" v="1384" actId="20577"/>
        <pc:sldMkLst>
          <pc:docMk/>
          <pc:sldMk cId="2278701123" sldId="2277"/>
        </pc:sldMkLst>
        <pc:spChg chg="mod">
          <ac:chgData name="Timur Karimsakov" userId="ea04722c-9be7-49ff-9a17-c5a9c646d8a7" providerId="ADAL" clId="{7E6D9E73-6517-4564-A367-6425B5557C17}" dt="2024-11-27T05:48:20.240" v="1373" actId="20577"/>
          <ac:spMkLst>
            <pc:docMk/>
            <pc:sldMk cId="2278701123" sldId="2277"/>
            <ac:spMk id="4" creationId="{D9A7DC92-E6E0-F85D-D643-D022689C0378}"/>
          </ac:spMkLst>
        </pc:spChg>
        <pc:spChg chg="mod">
          <ac:chgData name="Timur Karimsakov" userId="ea04722c-9be7-49ff-9a17-c5a9c646d8a7" providerId="ADAL" clId="{7E6D9E73-6517-4564-A367-6425B5557C17}" dt="2024-11-26T11:46:09.757" v="468" actId="20577"/>
          <ac:spMkLst>
            <pc:docMk/>
            <pc:sldMk cId="2278701123" sldId="2277"/>
            <ac:spMk id="5" creationId="{B2FD64AC-5415-C72A-A1E8-44F5EDF29AEC}"/>
          </ac:spMkLst>
        </pc:spChg>
        <pc:spChg chg="mod">
          <ac:chgData name="Timur Karimsakov" userId="ea04722c-9be7-49ff-9a17-c5a9c646d8a7" providerId="ADAL" clId="{7E6D9E73-6517-4564-A367-6425B5557C17}" dt="2024-11-27T05:48:29.797" v="1384" actId="20577"/>
          <ac:spMkLst>
            <pc:docMk/>
            <pc:sldMk cId="2278701123" sldId="2277"/>
            <ac:spMk id="13" creationId="{4B231C19-6581-F296-4C38-7C9083947714}"/>
          </ac:spMkLst>
        </pc:spChg>
        <pc:spChg chg="mod">
          <ac:chgData name="Timur Karimsakov" userId="ea04722c-9be7-49ff-9a17-c5a9c646d8a7" providerId="ADAL" clId="{7E6D9E73-6517-4564-A367-6425B5557C17}" dt="2024-11-26T11:46:00.887" v="454" actId="1035"/>
          <ac:spMkLst>
            <pc:docMk/>
            <pc:sldMk cId="2278701123" sldId="2277"/>
            <ac:spMk id="18" creationId="{21CF1E7F-60B0-9567-58C0-1F6E6E97154F}"/>
          </ac:spMkLst>
        </pc:spChg>
        <pc:spChg chg="mod">
          <ac:chgData name="Timur Karimsakov" userId="ea04722c-9be7-49ff-9a17-c5a9c646d8a7" providerId="ADAL" clId="{7E6D9E73-6517-4564-A367-6425B5557C17}" dt="2024-11-26T11:45:56.773" v="446" actId="1035"/>
          <ac:spMkLst>
            <pc:docMk/>
            <pc:sldMk cId="2278701123" sldId="2277"/>
            <ac:spMk id="19" creationId="{691CB1FF-F824-C06C-847C-D41370F8E7F2}"/>
          </ac:spMkLst>
        </pc:spChg>
        <pc:spChg chg="mod">
          <ac:chgData name="Timur Karimsakov" userId="ea04722c-9be7-49ff-9a17-c5a9c646d8a7" providerId="ADAL" clId="{7E6D9E73-6517-4564-A367-6425B5557C17}" dt="2024-11-26T11:45:52.805" v="436" actId="1035"/>
          <ac:spMkLst>
            <pc:docMk/>
            <pc:sldMk cId="2278701123" sldId="2277"/>
            <ac:spMk id="23" creationId="{D350D8B1-7A0D-4661-75CE-0CAC4A43DF6A}"/>
          </ac:spMkLst>
        </pc:spChg>
        <pc:spChg chg="mod">
          <ac:chgData name="Timur Karimsakov" userId="ea04722c-9be7-49ff-9a17-c5a9c646d8a7" providerId="ADAL" clId="{7E6D9E73-6517-4564-A367-6425B5557C17}" dt="2024-11-26T11:45:49.767" v="427" actId="1035"/>
          <ac:spMkLst>
            <pc:docMk/>
            <pc:sldMk cId="2278701123" sldId="2277"/>
            <ac:spMk id="24" creationId="{0279029F-A1AA-B3D6-CE2B-6F492AFA322C}"/>
          </ac:spMkLst>
        </pc:spChg>
        <pc:spChg chg="mod">
          <ac:chgData name="Timur Karimsakov" userId="ea04722c-9be7-49ff-9a17-c5a9c646d8a7" providerId="ADAL" clId="{7E6D9E73-6517-4564-A367-6425B5557C17}" dt="2024-11-26T11:45:46.340" v="418" actId="1035"/>
          <ac:spMkLst>
            <pc:docMk/>
            <pc:sldMk cId="2278701123" sldId="2277"/>
            <ac:spMk id="25" creationId="{AA3910BA-E316-1ED7-902D-AB4F7F0DC8E4}"/>
          </ac:spMkLst>
        </pc:spChg>
        <pc:spChg chg="mod">
          <ac:chgData name="Timur Karimsakov" userId="ea04722c-9be7-49ff-9a17-c5a9c646d8a7" providerId="ADAL" clId="{7E6D9E73-6517-4564-A367-6425B5557C17}" dt="2024-11-26T11:46:03.631" v="458" actId="1035"/>
          <ac:spMkLst>
            <pc:docMk/>
            <pc:sldMk cId="2278701123" sldId="2277"/>
            <ac:spMk id="32" creationId="{0D2D62C3-E812-AAFD-D2AD-8FB45CC906C8}"/>
          </ac:spMkLst>
        </pc:spChg>
        <pc:spChg chg="mod">
          <ac:chgData name="Timur Karimsakov" userId="ea04722c-9be7-49ff-9a17-c5a9c646d8a7" providerId="ADAL" clId="{7E6D9E73-6517-4564-A367-6425B5557C17}" dt="2024-11-26T11:46:21.202" v="470" actId="20577"/>
          <ac:spMkLst>
            <pc:docMk/>
            <pc:sldMk cId="2278701123" sldId="2277"/>
            <ac:spMk id="36" creationId="{03560DEE-38F3-4857-D339-93070E0C0A9F}"/>
          </ac:spMkLst>
        </pc:spChg>
        <pc:spChg chg="mod">
          <ac:chgData name="Timur Karimsakov" userId="ea04722c-9be7-49ff-9a17-c5a9c646d8a7" providerId="ADAL" clId="{7E6D9E73-6517-4564-A367-6425B5557C17}" dt="2024-11-26T11:43:53.573" v="401"/>
          <ac:spMkLst>
            <pc:docMk/>
            <pc:sldMk cId="2278701123" sldId="2277"/>
            <ac:spMk id="68" creationId="{2ECA0113-5FE2-F5DA-CE28-D2A789698078}"/>
          </ac:spMkLst>
        </pc:spChg>
      </pc:sldChg>
      <pc:sldChg chg="add del">
        <pc:chgData name="Timur Karimsakov" userId="ea04722c-9be7-49ff-9a17-c5a9c646d8a7" providerId="ADAL" clId="{7E6D9E73-6517-4564-A367-6425B5557C17}" dt="2024-11-26T11:54:09.104" v="686" actId="47"/>
        <pc:sldMkLst>
          <pc:docMk/>
          <pc:sldMk cId="614719149" sldId="2278"/>
        </pc:sldMkLst>
      </pc:sldChg>
    </pc:docChg>
  </pc:docChgLst>
  <pc:docChgLst>
    <pc:chgData name="Altair Bekturov" userId="f1c9077e-fbd1-4d3f-8125-f3628bf5133d" providerId="ADAL" clId="{232F7CD2-513B-42ED-9809-BA7F85BE2366}"/>
    <pc:docChg chg="undo custSel modSld">
      <pc:chgData name="Altair Bekturov" userId="f1c9077e-fbd1-4d3f-8125-f3628bf5133d" providerId="ADAL" clId="{232F7CD2-513B-42ED-9809-BA7F85BE2366}" dt="2024-07-30T10:44:02.488" v="28" actId="1076"/>
      <pc:docMkLst>
        <pc:docMk/>
      </pc:docMkLst>
      <pc:sldChg chg="delSp modSp mod">
        <pc:chgData name="Altair Bekturov" userId="f1c9077e-fbd1-4d3f-8125-f3628bf5133d" providerId="ADAL" clId="{232F7CD2-513B-42ED-9809-BA7F85BE2366}" dt="2024-07-30T10:41:10.521" v="22" actId="1076"/>
        <pc:sldMkLst>
          <pc:docMk/>
          <pc:sldMk cId="781584985" sldId="2266"/>
        </pc:sldMkLst>
        <pc:spChg chg="mod">
          <ac:chgData name="Altair Bekturov" userId="f1c9077e-fbd1-4d3f-8125-f3628bf5133d" providerId="ADAL" clId="{232F7CD2-513B-42ED-9809-BA7F85BE2366}" dt="2024-07-30T10:41:10.521" v="22" actId="1076"/>
          <ac:spMkLst>
            <pc:docMk/>
            <pc:sldMk cId="781584985" sldId="2266"/>
            <ac:spMk id="19" creationId="{D8DAC98A-FF6B-71D8-C8C9-A82EE6DA8734}"/>
          </ac:spMkLst>
        </pc:spChg>
        <pc:spChg chg="del mod">
          <ac:chgData name="Altair Bekturov" userId="f1c9077e-fbd1-4d3f-8125-f3628bf5133d" providerId="ADAL" clId="{232F7CD2-513B-42ED-9809-BA7F85BE2366}" dt="2024-07-30T10:41:08.043" v="21" actId="478"/>
          <ac:spMkLst>
            <pc:docMk/>
            <pc:sldMk cId="781584985" sldId="2266"/>
            <ac:spMk id="23" creationId="{3DBC144C-69C2-4085-8F0E-9AACB2F9B24E}"/>
          </ac:spMkLst>
        </pc:spChg>
      </pc:sldChg>
      <pc:sldChg chg="modSp mod">
        <pc:chgData name="Altair Bekturov" userId="f1c9077e-fbd1-4d3f-8125-f3628bf5133d" providerId="ADAL" clId="{232F7CD2-513B-42ED-9809-BA7F85BE2366}" dt="2024-07-30T10:43:12.152" v="26" actId="14100"/>
        <pc:sldMkLst>
          <pc:docMk/>
          <pc:sldMk cId="2575797221" sldId="2269"/>
        </pc:sldMkLst>
        <pc:spChg chg="mod">
          <ac:chgData name="Altair Bekturov" userId="f1c9077e-fbd1-4d3f-8125-f3628bf5133d" providerId="ADAL" clId="{232F7CD2-513B-42ED-9809-BA7F85BE2366}" dt="2024-07-30T10:43:12.152" v="26" actId="14100"/>
          <ac:spMkLst>
            <pc:docMk/>
            <pc:sldMk cId="2575797221" sldId="2269"/>
            <ac:spMk id="45" creationId="{944499C0-9F55-32DD-B168-3DF315DDE32A}"/>
          </ac:spMkLst>
        </pc:spChg>
      </pc:sldChg>
      <pc:sldChg chg="modSp mod">
        <pc:chgData name="Altair Bekturov" userId="f1c9077e-fbd1-4d3f-8125-f3628bf5133d" providerId="ADAL" clId="{232F7CD2-513B-42ED-9809-BA7F85BE2366}" dt="2024-07-30T10:44:02.488" v="28" actId="1076"/>
        <pc:sldMkLst>
          <pc:docMk/>
          <pc:sldMk cId="515681888" sldId="2270"/>
        </pc:sldMkLst>
        <pc:spChg chg="mod">
          <ac:chgData name="Altair Bekturov" userId="f1c9077e-fbd1-4d3f-8125-f3628bf5133d" providerId="ADAL" clId="{232F7CD2-513B-42ED-9809-BA7F85BE2366}" dt="2024-07-30T10:44:02.488" v="28" actId="1076"/>
          <ac:spMkLst>
            <pc:docMk/>
            <pc:sldMk cId="515681888" sldId="2270"/>
            <ac:spMk id="27" creationId="{572D5F5A-6EFD-695B-3554-71B79FB412F2}"/>
          </ac:spMkLst>
        </pc:spChg>
      </pc:sldChg>
    </pc:docChg>
  </pc:docChgLst>
  <pc:docChgLst>
    <pc:chgData name="Timur Karimsakov" userId="ea04722c-9be7-49ff-9a17-c5a9c646d8a7" providerId="ADAL" clId="{725A8DB3-5C4A-4D23-A642-2C3988922A0A}"/>
    <pc:docChg chg="undo redo custSel addSld delSld modSld">
      <pc:chgData name="Timur Karimsakov" userId="ea04722c-9be7-49ff-9a17-c5a9c646d8a7" providerId="ADAL" clId="{725A8DB3-5C4A-4D23-A642-2C3988922A0A}" dt="2024-10-22T07:09:52.753" v="1454" actId="47"/>
      <pc:docMkLst>
        <pc:docMk/>
      </pc:docMkLst>
      <pc:sldChg chg="modSp mod">
        <pc:chgData name="Timur Karimsakov" userId="ea04722c-9be7-49ff-9a17-c5a9c646d8a7" providerId="ADAL" clId="{725A8DB3-5C4A-4D23-A642-2C3988922A0A}" dt="2024-10-22T05:49:27.522" v="15" actId="20577"/>
        <pc:sldMkLst>
          <pc:docMk/>
          <pc:sldMk cId="15871163" sldId="257"/>
        </pc:sldMkLst>
        <pc:spChg chg="mod">
          <ac:chgData name="Timur Karimsakov" userId="ea04722c-9be7-49ff-9a17-c5a9c646d8a7" providerId="ADAL" clId="{725A8DB3-5C4A-4D23-A642-2C3988922A0A}" dt="2024-10-22T05:49:27.522" v="15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modSp mod">
        <pc:chgData name="Timur Karimsakov" userId="ea04722c-9be7-49ff-9a17-c5a9c646d8a7" providerId="ADAL" clId="{725A8DB3-5C4A-4D23-A642-2C3988922A0A}" dt="2024-10-22T06:49:06.880" v="1105" actId="1036"/>
        <pc:sldMkLst>
          <pc:docMk/>
          <pc:sldMk cId="4078718328" sldId="2184"/>
        </pc:sldMkLst>
        <pc:spChg chg="mod">
          <ac:chgData name="Timur Karimsakov" userId="ea04722c-9be7-49ff-9a17-c5a9c646d8a7" providerId="ADAL" clId="{725A8DB3-5C4A-4D23-A642-2C3988922A0A}" dt="2024-10-22T06:47:35.422" v="1041" actId="20577"/>
          <ac:spMkLst>
            <pc:docMk/>
            <pc:sldMk cId="4078718328" sldId="2184"/>
            <ac:spMk id="8" creationId="{85697E62-4051-88FC-C94D-84493D08BE8E}"/>
          </ac:spMkLst>
        </pc:spChg>
        <pc:spChg chg="mod">
          <ac:chgData name="Timur Karimsakov" userId="ea04722c-9be7-49ff-9a17-c5a9c646d8a7" providerId="ADAL" clId="{725A8DB3-5C4A-4D23-A642-2C3988922A0A}" dt="2024-10-22T06:47:40.320" v="1043" actId="20577"/>
          <ac:spMkLst>
            <pc:docMk/>
            <pc:sldMk cId="4078718328" sldId="2184"/>
            <ac:spMk id="14" creationId="{BD5CC2B5-7AC2-AC81-7D04-76E8DBC10147}"/>
          </ac:spMkLst>
        </pc:spChg>
        <pc:spChg chg="mod">
          <ac:chgData name="Timur Karimsakov" userId="ea04722c-9be7-49ff-9a17-c5a9c646d8a7" providerId="ADAL" clId="{725A8DB3-5C4A-4D23-A642-2C3988922A0A}" dt="2024-10-22T06:48:58.585" v="1097" actId="1036"/>
          <ac:spMkLst>
            <pc:docMk/>
            <pc:sldMk cId="4078718328" sldId="2184"/>
            <ac:spMk id="19" creationId="{1E1E9373-97B6-3891-1208-041BD7411038}"/>
          </ac:spMkLst>
        </pc:spChg>
        <pc:spChg chg="mod">
          <ac:chgData name="Timur Karimsakov" userId="ea04722c-9be7-49ff-9a17-c5a9c646d8a7" providerId="ADAL" clId="{725A8DB3-5C4A-4D23-A642-2C3988922A0A}" dt="2024-10-22T06:48:47.328" v="1090" actId="1035"/>
          <ac:spMkLst>
            <pc:docMk/>
            <pc:sldMk cId="4078718328" sldId="2184"/>
            <ac:spMk id="20" creationId="{29DC921E-7651-85A7-ACCE-1013554AA275}"/>
          </ac:spMkLst>
        </pc:spChg>
        <pc:spChg chg="mod">
          <ac:chgData name="Timur Karimsakov" userId="ea04722c-9be7-49ff-9a17-c5a9c646d8a7" providerId="ADAL" clId="{725A8DB3-5C4A-4D23-A642-2C3988922A0A}" dt="2024-10-22T06:48:55.818" v="1095" actId="1036"/>
          <ac:spMkLst>
            <pc:docMk/>
            <pc:sldMk cId="4078718328" sldId="2184"/>
            <ac:spMk id="23" creationId="{6A40FC35-7537-C90D-C0D6-C521A603A37E}"/>
          </ac:spMkLst>
        </pc:spChg>
        <pc:spChg chg="mod">
          <ac:chgData name="Timur Karimsakov" userId="ea04722c-9be7-49ff-9a17-c5a9c646d8a7" providerId="ADAL" clId="{725A8DB3-5C4A-4D23-A642-2C3988922A0A}" dt="2024-10-22T06:48:53.644" v="1093" actId="1036"/>
          <ac:spMkLst>
            <pc:docMk/>
            <pc:sldMk cId="4078718328" sldId="2184"/>
            <ac:spMk id="24" creationId="{86048335-57D5-C7F0-CF8E-62463E71FFF9}"/>
          </ac:spMkLst>
        </pc:spChg>
        <pc:spChg chg="mod">
          <ac:chgData name="Timur Karimsakov" userId="ea04722c-9be7-49ff-9a17-c5a9c646d8a7" providerId="ADAL" clId="{725A8DB3-5C4A-4D23-A642-2C3988922A0A}" dt="2024-10-22T06:49:02.151" v="1101" actId="1036"/>
          <ac:spMkLst>
            <pc:docMk/>
            <pc:sldMk cId="4078718328" sldId="2184"/>
            <ac:spMk id="25" creationId="{760095B9-C0E5-3C10-2E30-18E3DF0AFAF2}"/>
          </ac:spMkLst>
        </pc:spChg>
        <pc:spChg chg="mod">
          <ac:chgData name="Timur Karimsakov" userId="ea04722c-9be7-49ff-9a17-c5a9c646d8a7" providerId="ADAL" clId="{725A8DB3-5C4A-4D23-A642-2C3988922A0A}" dt="2024-10-22T06:49:06.880" v="1105" actId="1036"/>
          <ac:spMkLst>
            <pc:docMk/>
            <pc:sldMk cId="4078718328" sldId="2184"/>
            <ac:spMk id="26" creationId="{830276EE-0FFE-9C29-C177-1DB5B7C376A3}"/>
          </ac:spMkLst>
        </pc:spChg>
        <pc:spChg chg="mod">
          <ac:chgData name="Timur Karimsakov" userId="ea04722c-9be7-49ff-9a17-c5a9c646d8a7" providerId="ADAL" clId="{725A8DB3-5C4A-4D23-A642-2C3988922A0A}" dt="2024-10-22T06:48:16.194" v="1064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Timur Karimsakov" userId="ea04722c-9be7-49ff-9a17-c5a9c646d8a7" providerId="ADAL" clId="{725A8DB3-5C4A-4D23-A642-2C3988922A0A}" dt="2024-10-22T06:48:21.103" v="1074" actId="20577"/>
          <ac:spMkLst>
            <pc:docMk/>
            <pc:sldMk cId="4078718328" sldId="2184"/>
            <ac:spMk id="31" creationId="{1B43C88C-97F7-E43F-2336-6CFB022A3A87}"/>
          </ac:spMkLst>
        </pc:spChg>
      </pc:sldChg>
      <pc:sldChg chg="addSp modSp mod">
        <pc:chgData name="Timur Karimsakov" userId="ea04722c-9be7-49ff-9a17-c5a9c646d8a7" providerId="ADAL" clId="{725A8DB3-5C4A-4D23-A642-2C3988922A0A}" dt="2024-10-22T07:02:19.883" v="1411" actId="1036"/>
        <pc:sldMkLst>
          <pc:docMk/>
          <pc:sldMk cId="2298565077" sldId="2186"/>
        </pc:sldMkLst>
        <pc:spChg chg="add mod ord">
          <ac:chgData name="Timur Karimsakov" userId="ea04722c-9be7-49ff-9a17-c5a9c646d8a7" providerId="ADAL" clId="{725A8DB3-5C4A-4D23-A642-2C3988922A0A}" dt="2024-10-22T07:01:14.879" v="1366" actId="167"/>
          <ac:spMkLst>
            <pc:docMk/>
            <pc:sldMk cId="2298565077" sldId="2186"/>
            <ac:spMk id="2" creationId="{5B971366-1A57-41F1-E8DA-0720D2F5A926}"/>
          </ac:spMkLst>
        </pc:spChg>
        <pc:spChg chg="mod">
          <ac:chgData name="Timur Karimsakov" userId="ea04722c-9be7-49ff-9a17-c5a9c646d8a7" providerId="ADAL" clId="{725A8DB3-5C4A-4D23-A642-2C3988922A0A}" dt="2024-10-22T07:02:19.883" v="1411" actId="1036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Timur Karimsakov" userId="ea04722c-9be7-49ff-9a17-c5a9c646d8a7" providerId="ADAL" clId="{725A8DB3-5C4A-4D23-A642-2C3988922A0A}" dt="2024-10-22T07:01:24.551" v="1372" actId="20577"/>
          <ac:spMkLst>
            <pc:docMk/>
            <pc:sldMk cId="2298565077" sldId="2186"/>
            <ac:spMk id="6" creationId="{90BE8CD8-94C1-7202-0DBE-3853E3A66AD5}"/>
          </ac:spMkLst>
        </pc:spChg>
        <pc:spChg chg="mod">
          <ac:chgData name="Timur Karimsakov" userId="ea04722c-9be7-49ff-9a17-c5a9c646d8a7" providerId="ADAL" clId="{725A8DB3-5C4A-4D23-A642-2C3988922A0A}" dt="2024-10-22T07:00:32.470" v="1361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Timur Karimsakov" userId="ea04722c-9be7-49ff-9a17-c5a9c646d8a7" providerId="ADAL" clId="{725A8DB3-5C4A-4D23-A642-2C3988922A0A}" dt="2024-10-22T07:01:39.460" v="1389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modSp mod">
        <pc:chgData name="Timur Karimsakov" userId="ea04722c-9be7-49ff-9a17-c5a9c646d8a7" providerId="ADAL" clId="{725A8DB3-5C4A-4D23-A642-2C3988922A0A}" dt="2024-10-22T06:58:28.969" v="1255" actId="20577"/>
        <pc:sldMkLst>
          <pc:docMk/>
          <pc:sldMk cId="1727869833" sldId="2187"/>
        </pc:sldMkLst>
        <pc:spChg chg="mod">
          <ac:chgData name="Timur Karimsakov" userId="ea04722c-9be7-49ff-9a17-c5a9c646d8a7" providerId="ADAL" clId="{725A8DB3-5C4A-4D23-A642-2C3988922A0A}" dt="2024-10-22T06:56:42.678" v="1214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Timur Karimsakov" userId="ea04722c-9be7-49ff-9a17-c5a9c646d8a7" providerId="ADAL" clId="{725A8DB3-5C4A-4D23-A642-2C3988922A0A}" dt="2024-10-22T06:56:38.719" v="1210" actId="14100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Timur Karimsakov" userId="ea04722c-9be7-49ff-9a17-c5a9c646d8a7" providerId="ADAL" clId="{725A8DB3-5C4A-4D23-A642-2C3988922A0A}" dt="2024-10-22T06:53:24.520" v="1190" actId="20577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Timur Karimsakov" userId="ea04722c-9be7-49ff-9a17-c5a9c646d8a7" providerId="ADAL" clId="{725A8DB3-5C4A-4D23-A642-2C3988922A0A}" dt="2024-10-22T06:58:19.702" v="1243" actId="1037"/>
          <ac:spMkLst>
            <pc:docMk/>
            <pc:sldMk cId="1727869833" sldId="2187"/>
            <ac:spMk id="25" creationId="{C58490BC-7749-B796-7711-784F36DC5639}"/>
          </ac:spMkLst>
        </pc:spChg>
        <pc:spChg chg="mod">
          <ac:chgData name="Timur Karimsakov" userId="ea04722c-9be7-49ff-9a17-c5a9c646d8a7" providerId="ADAL" clId="{725A8DB3-5C4A-4D23-A642-2C3988922A0A}" dt="2024-10-22T06:58:16.435" v="1242" actId="1035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725A8DB3-5C4A-4D23-A642-2C3988922A0A}" dt="2024-10-22T06:58:28.969" v="1255" actId="20577"/>
          <ac:spMkLst>
            <pc:docMk/>
            <pc:sldMk cId="1727869833" sldId="2187"/>
            <ac:spMk id="30" creationId="{1EF8A265-7911-B274-2E61-42A4C8C332CC}"/>
          </ac:spMkLst>
        </pc:spChg>
        <pc:graphicFrameChg chg="mod">
          <ac:chgData name="Timur Karimsakov" userId="ea04722c-9be7-49ff-9a17-c5a9c646d8a7" providerId="ADAL" clId="{725A8DB3-5C4A-4D23-A642-2C3988922A0A}" dt="2024-10-22T06:57:15.046" v="1223"/>
          <ac:graphicFrameMkLst>
            <pc:docMk/>
            <pc:sldMk cId="1727869833" sldId="2187"/>
            <ac:graphicFrameMk id="13" creationId="{D74FCFA6-CF5E-699E-F310-9A0E9ED74270}"/>
          </ac:graphicFrameMkLst>
        </pc:graphicFrameChg>
        <pc:graphicFrameChg chg="mod">
          <ac:chgData name="Timur Karimsakov" userId="ea04722c-9be7-49ff-9a17-c5a9c646d8a7" providerId="ADAL" clId="{725A8DB3-5C4A-4D23-A642-2C3988922A0A}" dt="2024-10-22T06:58:09.715" v="1239"/>
          <ac:graphicFrameMkLst>
            <pc:docMk/>
            <pc:sldMk cId="1727869833" sldId="2187"/>
            <ac:graphicFrameMk id="41" creationId="{BA702ED6-5EC1-1D8B-8587-A5C8A893CC3D}"/>
          </ac:graphicFrameMkLst>
        </pc:graphicFrameChg>
      </pc:sldChg>
      <pc:sldChg chg="addSp delSp modSp add mod">
        <pc:chgData name="Timur Karimsakov" userId="ea04722c-9be7-49ff-9a17-c5a9c646d8a7" providerId="ADAL" clId="{725A8DB3-5C4A-4D23-A642-2C3988922A0A}" dt="2024-10-22T06:50:55.078" v="1115" actId="20577"/>
        <pc:sldMkLst>
          <pc:docMk/>
          <pc:sldMk cId="3240899165" sldId="2212"/>
        </pc:sldMkLst>
        <pc:spChg chg="mod">
          <ac:chgData name="Timur Karimsakov" userId="ea04722c-9be7-49ff-9a17-c5a9c646d8a7" providerId="ADAL" clId="{725A8DB3-5C4A-4D23-A642-2C3988922A0A}" dt="2024-10-22T06:49:30.660" v="1107"/>
          <ac:spMkLst>
            <pc:docMk/>
            <pc:sldMk cId="3240899165" sldId="2212"/>
            <ac:spMk id="7" creationId="{9B66BC15-C7C9-BCAE-95C9-423B050F9920}"/>
          </ac:spMkLst>
        </pc:spChg>
        <pc:spChg chg="add mod">
          <ac:chgData name="Timur Karimsakov" userId="ea04722c-9be7-49ff-9a17-c5a9c646d8a7" providerId="ADAL" clId="{725A8DB3-5C4A-4D23-A642-2C3988922A0A}" dt="2024-10-22T06:49:35.959" v="1109"/>
          <ac:spMkLst>
            <pc:docMk/>
            <pc:sldMk cId="3240899165" sldId="2212"/>
            <ac:spMk id="8" creationId="{66C86396-4F86-1732-0471-1555F40E1CD5}"/>
          </ac:spMkLst>
        </pc:spChg>
        <pc:spChg chg="add mod">
          <ac:chgData name="Timur Karimsakov" userId="ea04722c-9be7-49ff-9a17-c5a9c646d8a7" providerId="ADAL" clId="{725A8DB3-5C4A-4D23-A642-2C3988922A0A}" dt="2024-10-22T06:49:43.273" v="1111"/>
          <ac:spMkLst>
            <pc:docMk/>
            <pc:sldMk cId="3240899165" sldId="2212"/>
            <ac:spMk id="9" creationId="{17CAA36C-DDBB-830A-C302-8A858D3E8B29}"/>
          </ac:spMkLst>
        </pc:spChg>
        <pc:spChg chg="del">
          <ac:chgData name="Timur Karimsakov" userId="ea04722c-9be7-49ff-9a17-c5a9c646d8a7" providerId="ADAL" clId="{725A8DB3-5C4A-4D23-A642-2C3988922A0A}" dt="2024-10-22T06:49:42.974" v="1110" actId="478"/>
          <ac:spMkLst>
            <pc:docMk/>
            <pc:sldMk cId="3240899165" sldId="2212"/>
            <ac:spMk id="34" creationId="{043A123B-4864-908F-A2B8-F951AAA6439E}"/>
          </ac:spMkLst>
        </pc:spChg>
        <pc:spChg chg="del">
          <ac:chgData name="Timur Karimsakov" userId="ea04722c-9be7-49ff-9a17-c5a9c646d8a7" providerId="ADAL" clId="{725A8DB3-5C4A-4D23-A642-2C3988922A0A}" dt="2024-10-22T06:49:35.694" v="1108" actId="478"/>
          <ac:spMkLst>
            <pc:docMk/>
            <pc:sldMk cId="3240899165" sldId="2212"/>
            <ac:spMk id="37" creationId="{22356F5B-BC1B-07FD-6EF0-F91E21834476}"/>
          </ac:spMkLst>
        </pc:spChg>
        <pc:spChg chg="mod">
          <ac:chgData name="Timur Karimsakov" userId="ea04722c-9be7-49ff-9a17-c5a9c646d8a7" providerId="ADAL" clId="{725A8DB3-5C4A-4D23-A642-2C3988922A0A}" dt="2024-10-22T06:50:55.078" v="1115" actId="20577"/>
          <ac:spMkLst>
            <pc:docMk/>
            <pc:sldMk cId="3240899165" sldId="2212"/>
            <ac:spMk id="68" creationId="{30E2F78A-EA61-40A0-1BB0-54FD07BA09E5}"/>
          </ac:spMkLst>
        </pc:spChg>
      </pc:sldChg>
      <pc:sldChg chg="addSp delSp modSp mod">
        <pc:chgData name="Timur Karimsakov" userId="ea04722c-9be7-49ff-9a17-c5a9c646d8a7" providerId="ADAL" clId="{725A8DB3-5C4A-4D23-A642-2C3988922A0A}" dt="2024-10-22T06:36:28.952" v="1014" actId="20577"/>
        <pc:sldMkLst>
          <pc:docMk/>
          <pc:sldMk cId="2566058658" sldId="2262"/>
        </pc:sldMkLst>
        <pc:spChg chg="mod">
          <ac:chgData name="Timur Karimsakov" userId="ea04722c-9be7-49ff-9a17-c5a9c646d8a7" providerId="ADAL" clId="{725A8DB3-5C4A-4D23-A642-2C3988922A0A}" dt="2024-10-22T06:31:46.853" v="923" actId="14100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Timur Karimsakov" userId="ea04722c-9be7-49ff-9a17-c5a9c646d8a7" providerId="ADAL" clId="{725A8DB3-5C4A-4D23-A642-2C3988922A0A}" dt="2024-10-22T06:31:59.204" v="937" actId="20577"/>
          <ac:spMkLst>
            <pc:docMk/>
            <pc:sldMk cId="2566058658" sldId="2262"/>
            <ac:spMk id="13" creationId="{3FE6DF63-78A9-34A0-8492-44236B1F9A59}"/>
          </ac:spMkLst>
        </pc:spChg>
        <pc:spChg chg="add mod">
          <ac:chgData name="Timur Karimsakov" userId="ea04722c-9be7-49ff-9a17-c5a9c646d8a7" providerId="ADAL" clId="{725A8DB3-5C4A-4D23-A642-2C3988922A0A}" dt="2024-10-22T06:32:48.083" v="953"/>
          <ac:spMkLst>
            <pc:docMk/>
            <pc:sldMk cId="2566058658" sldId="2262"/>
            <ac:spMk id="25" creationId="{EDF43CAA-D668-3B69-E59C-7D86177C1CED}"/>
          </ac:spMkLst>
        </pc:spChg>
        <pc:spChg chg="mod">
          <ac:chgData name="Timur Karimsakov" userId="ea04722c-9be7-49ff-9a17-c5a9c646d8a7" providerId="ADAL" clId="{725A8DB3-5C4A-4D23-A642-2C3988922A0A}" dt="2024-10-22T06:36:28.952" v="1014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Timur Karimsakov" userId="ea04722c-9be7-49ff-9a17-c5a9c646d8a7" providerId="ADAL" clId="{725A8DB3-5C4A-4D23-A642-2C3988922A0A}" dt="2024-10-22T06:32:35.548" v="952" actId="20577"/>
          <ac:spMkLst>
            <pc:docMk/>
            <pc:sldMk cId="2566058658" sldId="2262"/>
            <ac:spMk id="27" creationId="{6B3D17CA-F792-DC19-AF9F-1B3065878F5C}"/>
          </ac:spMkLst>
        </pc:spChg>
        <pc:spChg chg="add del">
          <ac:chgData name="Timur Karimsakov" userId="ea04722c-9be7-49ff-9a17-c5a9c646d8a7" providerId="ADAL" clId="{725A8DB3-5C4A-4D23-A642-2C3988922A0A}" dt="2024-10-22T06:33:43.316" v="962" actId="478"/>
          <ac:spMkLst>
            <pc:docMk/>
            <pc:sldMk cId="2566058658" sldId="2262"/>
            <ac:spMk id="29" creationId="{50AE4A15-9F57-44AA-899F-EB3CD86D6E59}"/>
          </ac:spMkLst>
        </pc:spChg>
        <pc:spChg chg="add del">
          <ac:chgData name="Timur Karimsakov" userId="ea04722c-9be7-49ff-9a17-c5a9c646d8a7" providerId="ADAL" clId="{725A8DB3-5C4A-4D23-A642-2C3988922A0A}" dt="2024-10-22T06:33:43.316" v="962" actId="478"/>
          <ac:spMkLst>
            <pc:docMk/>
            <pc:sldMk cId="2566058658" sldId="2262"/>
            <ac:spMk id="30" creationId="{1D331076-3D9C-589E-9C92-D37CFBF5E86F}"/>
          </ac:spMkLst>
        </pc:spChg>
        <pc:spChg chg="add del mod">
          <ac:chgData name="Timur Karimsakov" userId="ea04722c-9be7-49ff-9a17-c5a9c646d8a7" providerId="ADAL" clId="{725A8DB3-5C4A-4D23-A642-2C3988922A0A}" dt="2024-10-22T06:34:28.108" v="969" actId="1076"/>
          <ac:spMkLst>
            <pc:docMk/>
            <pc:sldMk cId="2566058658" sldId="2262"/>
            <ac:spMk id="31" creationId="{31A5032B-A80E-2652-04BE-A7D3E6D4EC3C}"/>
          </ac:spMkLst>
        </pc:spChg>
        <pc:spChg chg="add del mod">
          <ac:chgData name="Timur Karimsakov" userId="ea04722c-9be7-49ff-9a17-c5a9c646d8a7" providerId="ADAL" clId="{725A8DB3-5C4A-4D23-A642-2C3988922A0A}" dt="2024-10-22T06:34:20.588" v="968" actId="1076"/>
          <ac:spMkLst>
            <pc:docMk/>
            <pc:sldMk cId="2566058658" sldId="2262"/>
            <ac:spMk id="32" creationId="{23DA79C4-C5AA-CB8D-3B59-D6CA95CA6679}"/>
          </ac:spMkLst>
        </pc:spChg>
        <pc:spChg chg="add del">
          <ac:chgData name="Timur Karimsakov" userId="ea04722c-9be7-49ff-9a17-c5a9c646d8a7" providerId="ADAL" clId="{725A8DB3-5C4A-4D23-A642-2C3988922A0A}" dt="2024-10-22T06:33:43.316" v="962" actId="478"/>
          <ac:spMkLst>
            <pc:docMk/>
            <pc:sldMk cId="2566058658" sldId="2262"/>
            <ac:spMk id="35" creationId="{0268E12B-EE54-CB5F-0393-744D19CE183A}"/>
          </ac:spMkLst>
        </pc:spChg>
        <pc:spChg chg="add del">
          <ac:chgData name="Timur Karimsakov" userId="ea04722c-9be7-49ff-9a17-c5a9c646d8a7" providerId="ADAL" clId="{725A8DB3-5C4A-4D23-A642-2C3988922A0A}" dt="2024-10-22T06:33:43.316" v="962" actId="478"/>
          <ac:spMkLst>
            <pc:docMk/>
            <pc:sldMk cId="2566058658" sldId="2262"/>
            <ac:spMk id="36" creationId="{EE455E28-7A5A-4B1D-C904-28566AA84EE5}"/>
          </ac:spMkLst>
        </pc:spChg>
        <pc:spChg chg="add mod">
          <ac:chgData name="Timur Karimsakov" userId="ea04722c-9be7-49ff-9a17-c5a9c646d8a7" providerId="ADAL" clId="{725A8DB3-5C4A-4D23-A642-2C3988922A0A}" dt="2024-10-22T06:32:51.179" v="954"/>
          <ac:spMkLst>
            <pc:docMk/>
            <pc:sldMk cId="2566058658" sldId="2262"/>
            <ac:spMk id="37" creationId="{E7D97AA6-9C10-2B2B-3B0C-AB67C402BBB7}"/>
          </ac:spMkLst>
        </pc:spChg>
        <pc:spChg chg="mod">
          <ac:chgData name="Timur Karimsakov" userId="ea04722c-9be7-49ff-9a17-c5a9c646d8a7" providerId="ADAL" clId="{725A8DB3-5C4A-4D23-A642-2C3988922A0A}" dt="2024-10-22T06:32:26.908" v="950" actId="1038"/>
          <ac:spMkLst>
            <pc:docMk/>
            <pc:sldMk cId="2566058658" sldId="2262"/>
            <ac:spMk id="43" creationId="{76E9DA9A-37A9-3B40-F43F-1AE01A891458}"/>
          </ac:spMkLst>
        </pc:spChg>
        <pc:spChg chg="add del mod">
          <ac:chgData name="Timur Karimsakov" userId="ea04722c-9be7-49ff-9a17-c5a9c646d8a7" providerId="ADAL" clId="{725A8DB3-5C4A-4D23-A642-2C3988922A0A}" dt="2024-10-22T06:33:53.964" v="965" actId="1076"/>
          <ac:spMkLst>
            <pc:docMk/>
            <pc:sldMk cId="2566058658" sldId="2262"/>
            <ac:spMk id="69" creationId="{B877ECC2-2520-FEDB-518D-37474CC4E7F2}"/>
          </ac:spMkLst>
        </pc:spChg>
        <pc:graphicFrameChg chg="add mod">
          <ac:chgData name="Timur Karimsakov" userId="ea04722c-9be7-49ff-9a17-c5a9c646d8a7" providerId="ADAL" clId="{725A8DB3-5C4A-4D23-A642-2C3988922A0A}" dt="2024-10-22T06:32:48.083" v="953"/>
          <ac:graphicFrameMkLst>
            <pc:docMk/>
            <pc:sldMk cId="2566058658" sldId="2262"/>
            <ac:graphicFrameMk id="12" creationId="{1A1B3E7A-D7FC-C5C2-71FA-340F9C079482}"/>
          </ac:graphicFrameMkLst>
        </pc:graphicFrameChg>
        <pc:graphicFrameChg chg="add mod">
          <ac:chgData name="Timur Karimsakov" userId="ea04722c-9be7-49ff-9a17-c5a9c646d8a7" providerId="ADAL" clId="{725A8DB3-5C4A-4D23-A642-2C3988922A0A}" dt="2024-10-22T06:32:51.179" v="954"/>
          <ac:graphicFrameMkLst>
            <pc:docMk/>
            <pc:sldMk cId="2566058658" sldId="2262"/>
            <ac:graphicFrameMk id="28" creationId="{5DC0FBB6-DCD9-F7CF-5A1A-210D11623A7B}"/>
          </ac:graphicFrameMkLst>
        </pc:graphicFrameChg>
        <pc:graphicFrameChg chg="add mod">
          <ac:chgData name="Timur Karimsakov" userId="ea04722c-9be7-49ff-9a17-c5a9c646d8a7" providerId="ADAL" clId="{725A8DB3-5C4A-4D23-A642-2C3988922A0A}" dt="2024-10-22T06:33:11.495" v="958" actId="167"/>
          <ac:graphicFrameMkLst>
            <pc:docMk/>
            <pc:sldMk cId="2566058658" sldId="2262"/>
            <ac:graphicFrameMk id="38" creationId="{9B3260FC-675B-5AD5-3F71-7E2C395F3061}"/>
          </ac:graphicFrameMkLst>
        </pc:graphicFrameChg>
        <pc:graphicFrameChg chg="del">
          <ac:chgData name="Timur Karimsakov" userId="ea04722c-9be7-49ff-9a17-c5a9c646d8a7" providerId="ADAL" clId="{725A8DB3-5C4A-4D23-A642-2C3988922A0A}" dt="2024-10-22T06:32:56.563" v="956" actId="478"/>
          <ac:graphicFrameMkLst>
            <pc:docMk/>
            <pc:sldMk cId="2566058658" sldId="2262"/>
            <ac:graphicFrameMk id="61" creationId="{28A646F5-9DF3-48F3-2B3B-E21CF8402E0B}"/>
          </ac:graphicFrameMkLst>
        </pc:graphicFrame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39" creationId="{F2872E0C-2FDF-F683-8EEA-95EBEE240225}"/>
          </ac:cxnSpMkLst>
        </pc:cxn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40" creationId="{5BFF037B-80AE-6172-B4CE-EA053D92537B}"/>
          </ac:cxnSpMkLst>
        </pc:cxn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41" creationId="{7A3B58C8-91D4-BA71-BDC7-8212431F126E}"/>
          </ac:cxnSpMkLst>
        </pc:cxn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42" creationId="{3C48E14B-2F0B-3ABF-E60C-79DCB35DE712}"/>
          </ac:cxnSpMkLst>
        </pc:cxn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44" creationId="{118EEA96-9124-07E7-247B-2C680DF795A0}"/>
          </ac:cxnSpMkLst>
        </pc:cxnChg>
        <pc:cxnChg chg="add mod">
          <ac:chgData name="Timur Karimsakov" userId="ea04722c-9be7-49ff-9a17-c5a9c646d8a7" providerId="ADAL" clId="{725A8DB3-5C4A-4D23-A642-2C3988922A0A}" dt="2024-10-22T06:34:13.156" v="967"/>
          <ac:cxnSpMkLst>
            <pc:docMk/>
            <pc:sldMk cId="2566058658" sldId="2262"/>
            <ac:cxnSpMk id="45" creationId="{0A5870A7-9599-A554-3AF2-CFB06F9B345F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2" creationId="{73D80533-8684-C12F-49EB-0E436C8BC69E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3" creationId="{A965EB8D-C9A3-ADB2-1399-830864E3E61E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4" creationId="{3AE10DD8-EE46-74B2-6522-410743C5C22A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5" creationId="{05AAA370-0AEA-1A1F-0C23-0C15D1C1FD9F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7" creationId="{F7AB982A-24BD-0892-615F-E631223617A5}"/>
          </ac:cxnSpMkLst>
        </pc:cxnChg>
        <pc:cxnChg chg="add del">
          <ac:chgData name="Timur Karimsakov" userId="ea04722c-9be7-49ff-9a17-c5a9c646d8a7" providerId="ADAL" clId="{725A8DB3-5C4A-4D23-A642-2C3988922A0A}" dt="2024-10-22T06:34:12.457" v="966" actId="478"/>
          <ac:cxnSpMkLst>
            <pc:docMk/>
            <pc:sldMk cId="2566058658" sldId="2262"/>
            <ac:cxnSpMk id="68" creationId="{72421A60-593D-91E7-4F0D-13996CD159E2}"/>
          </ac:cxnSpMkLst>
        </pc:cxnChg>
      </pc:sldChg>
      <pc:sldChg chg="modSp mod">
        <pc:chgData name="Timur Karimsakov" userId="ea04722c-9be7-49ff-9a17-c5a9c646d8a7" providerId="ADAL" clId="{725A8DB3-5C4A-4D23-A642-2C3988922A0A}" dt="2024-10-22T06:18:54.706" v="766" actId="1076"/>
        <pc:sldMkLst>
          <pc:docMk/>
          <pc:sldMk cId="2234924895" sldId="2267"/>
        </pc:sldMkLst>
        <pc:spChg chg="mod">
          <ac:chgData name="Timur Karimsakov" userId="ea04722c-9be7-49ff-9a17-c5a9c646d8a7" providerId="ADAL" clId="{725A8DB3-5C4A-4D23-A642-2C3988922A0A}" dt="2024-10-22T06:18:51.098" v="764" actId="1035"/>
          <ac:spMkLst>
            <pc:docMk/>
            <pc:sldMk cId="2234924895" sldId="2267"/>
            <ac:spMk id="5" creationId="{B2FD64AC-5415-C72A-A1E8-44F5EDF29AEC}"/>
          </ac:spMkLst>
        </pc:spChg>
        <pc:spChg chg="mod">
          <ac:chgData name="Timur Karimsakov" userId="ea04722c-9be7-49ff-9a17-c5a9c646d8a7" providerId="ADAL" clId="{725A8DB3-5C4A-4D23-A642-2C3988922A0A}" dt="2024-10-22T06:18:06.442" v="757" actId="20577"/>
          <ac:spMkLst>
            <pc:docMk/>
            <pc:sldMk cId="2234924895" sldId="2267"/>
            <ac:spMk id="13" creationId="{4B231C19-6581-F296-4C38-7C9083947714}"/>
          </ac:spMkLst>
        </pc:spChg>
        <pc:graphicFrameChg chg="mod">
          <ac:chgData name="Timur Karimsakov" userId="ea04722c-9be7-49ff-9a17-c5a9c646d8a7" providerId="ADAL" clId="{725A8DB3-5C4A-4D23-A642-2C3988922A0A}" dt="2024-10-22T06:18:54.706" v="766" actId="1076"/>
          <ac:graphicFrameMkLst>
            <pc:docMk/>
            <pc:sldMk cId="2234924895" sldId="2267"/>
            <ac:graphicFrameMk id="16" creationId="{83C324DD-E9C4-E5CB-B1AA-66FE44A4068A}"/>
          </ac:graphicFrameMkLst>
        </pc:graphicFrameChg>
      </pc:sldChg>
      <pc:sldChg chg="addSp delSp modSp mod">
        <pc:chgData name="Timur Karimsakov" userId="ea04722c-9be7-49ff-9a17-c5a9c646d8a7" providerId="ADAL" clId="{725A8DB3-5C4A-4D23-A642-2C3988922A0A}" dt="2024-10-22T06:23:26.718" v="899" actId="20577"/>
        <pc:sldMkLst>
          <pc:docMk/>
          <pc:sldMk cId="1261594426" sldId="2272"/>
        </pc:sldMkLst>
        <pc:spChg chg="mod">
          <ac:chgData name="Timur Karimsakov" userId="ea04722c-9be7-49ff-9a17-c5a9c646d8a7" providerId="ADAL" clId="{725A8DB3-5C4A-4D23-A642-2C3988922A0A}" dt="2024-10-22T06:19:19.452" v="770" actId="20577"/>
          <ac:spMkLst>
            <pc:docMk/>
            <pc:sldMk cId="1261594426" sldId="2272"/>
            <ac:spMk id="4" creationId="{D9A7DC92-E6E0-F85D-D643-D022689C0378}"/>
          </ac:spMkLst>
        </pc:spChg>
        <pc:spChg chg="add mod">
          <ac:chgData name="Timur Karimsakov" userId="ea04722c-9be7-49ff-9a17-c5a9c646d8a7" providerId="ADAL" clId="{725A8DB3-5C4A-4D23-A642-2C3988922A0A}" dt="2024-10-22T06:19:59.658" v="775"/>
          <ac:spMkLst>
            <pc:docMk/>
            <pc:sldMk cId="1261594426" sldId="2272"/>
            <ac:spMk id="5" creationId="{71A2CA35-3EBF-3D66-E7FE-EC5D00CE6ADD}"/>
          </ac:spMkLst>
        </pc:spChg>
        <pc:spChg chg="add mod">
          <ac:chgData name="Timur Karimsakov" userId="ea04722c-9be7-49ff-9a17-c5a9c646d8a7" providerId="ADAL" clId="{725A8DB3-5C4A-4D23-A642-2C3988922A0A}" dt="2024-10-22T06:19:59.658" v="775"/>
          <ac:spMkLst>
            <pc:docMk/>
            <pc:sldMk cId="1261594426" sldId="2272"/>
            <ac:spMk id="6" creationId="{EC62E310-7418-F28C-A95A-C34691E1197B}"/>
          </ac:spMkLst>
        </pc:spChg>
        <pc:spChg chg="mod">
          <ac:chgData name="Timur Karimsakov" userId="ea04722c-9be7-49ff-9a17-c5a9c646d8a7" providerId="ADAL" clId="{725A8DB3-5C4A-4D23-A642-2C3988922A0A}" dt="2024-10-22T06:23:26.718" v="899" actId="20577"/>
          <ac:spMkLst>
            <pc:docMk/>
            <pc:sldMk cId="1261594426" sldId="2272"/>
            <ac:spMk id="8" creationId="{85697E62-4051-88FC-C94D-84493D08BE8E}"/>
          </ac:spMkLst>
        </pc:spChg>
        <pc:spChg chg="add mod">
          <ac:chgData name="Timur Karimsakov" userId="ea04722c-9be7-49ff-9a17-c5a9c646d8a7" providerId="ADAL" clId="{725A8DB3-5C4A-4D23-A642-2C3988922A0A}" dt="2024-10-22T06:19:59.658" v="775"/>
          <ac:spMkLst>
            <pc:docMk/>
            <pc:sldMk cId="1261594426" sldId="2272"/>
            <ac:spMk id="10" creationId="{0824FDB9-666B-3E32-9A06-0B7B41E527EF}"/>
          </ac:spMkLst>
        </pc:spChg>
        <pc:spChg chg="del">
          <ac:chgData name="Timur Karimsakov" userId="ea04722c-9be7-49ff-9a17-c5a9c646d8a7" providerId="ADAL" clId="{725A8DB3-5C4A-4D23-A642-2C3988922A0A}" dt="2024-10-22T06:20:24.685" v="777" actId="478"/>
          <ac:spMkLst>
            <pc:docMk/>
            <pc:sldMk cId="1261594426" sldId="2272"/>
            <ac:spMk id="14" creationId="{EB8E129D-A51F-7697-7A14-A6E6129187F2}"/>
          </ac:spMkLst>
        </pc:spChg>
        <pc:spChg chg="add mod">
          <ac:chgData name="Timur Karimsakov" userId="ea04722c-9be7-49ff-9a17-c5a9c646d8a7" providerId="ADAL" clId="{725A8DB3-5C4A-4D23-A642-2C3988922A0A}" dt="2024-10-22T06:19:59.658" v="775"/>
          <ac:spMkLst>
            <pc:docMk/>
            <pc:sldMk cId="1261594426" sldId="2272"/>
            <ac:spMk id="18" creationId="{8B9D467D-7EF2-C3C9-E1A0-387B45BF5380}"/>
          </ac:spMkLst>
        </pc:spChg>
        <pc:spChg chg="del">
          <ac:chgData name="Timur Karimsakov" userId="ea04722c-9be7-49ff-9a17-c5a9c646d8a7" providerId="ADAL" clId="{725A8DB3-5C4A-4D23-A642-2C3988922A0A}" dt="2024-10-22T06:20:24.685" v="777" actId="478"/>
          <ac:spMkLst>
            <pc:docMk/>
            <pc:sldMk cId="1261594426" sldId="2272"/>
            <ac:spMk id="20" creationId="{A5DB1062-3803-C911-ED6A-B0A25247DF52}"/>
          </ac:spMkLst>
        </pc:spChg>
        <pc:spChg chg="add mod">
          <ac:chgData name="Timur Karimsakov" userId="ea04722c-9be7-49ff-9a17-c5a9c646d8a7" providerId="ADAL" clId="{725A8DB3-5C4A-4D23-A642-2C3988922A0A}" dt="2024-10-22T06:20:28.928" v="778"/>
          <ac:spMkLst>
            <pc:docMk/>
            <pc:sldMk cId="1261594426" sldId="2272"/>
            <ac:spMk id="21" creationId="{DFC782F6-55DB-F156-08A3-5A746B6D8803}"/>
          </ac:spMkLst>
        </pc:spChg>
        <pc:spChg chg="add mod">
          <ac:chgData name="Timur Karimsakov" userId="ea04722c-9be7-49ff-9a17-c5a9c646d8a7" providerId="ADAL" clId="{725A8DB3-5C4A-4D23-A642-2C3988922A0A}" dt="2024-10-22T06:20:28.928" v="778"/>
          <ac:spMkLst>
            <pc:docMk/>
            <pc:sldMk cId="1261594426" sldId="2272"/>
            <ac:spMk id="23" creationId="{7D421DA6-1D41-06CE-B27D-3C5617A3FD59}"/>
          </ac:spMkLst>
        </pc:spChg>
        <pc:spChg chg="add mod">
          <ac:chgData name="Timur Karimsakov" userId="ea04722c-9be7-49ff-9a17-c5a9c646d8a7" providerId="ADAL" clId="{725A8DB3-5C4A-4D23-A642-2C3988922A0A}" dt="2024-10-22T06:20:28.928" v="778"/>
          <ac:spMkLst>
            <pc:docMk/>
            <pc:sldMk cId="1261594426" sldId="2272"/>
            <ac:spMk id="24" creationId="{3C902C3C-F5F7-93AB-F435-454396E01B7C}"/>
          </ac:spMkLst>
        </pc:spChg>
        <pc:spChg chg="del">
          <ac:chgData name="Timur Karimsakov" userId="ea04722c-9be7-49ff-9a17-c5a9c646d8a7" providerId="ADAL" clId="{725A8DB3-5C4A-4D23-A642-2C3988922A0A}" dt="2024-10-22T06:20:24.685" v="777" actId="478"/>
          <ac:spMkLst>
            <pc:docMk/>
            <pc:sldMk cId="1261594426" sldId="2272"/>
            <ac:spMk id="29" creationId="{F735CE24-36B8-64B9-090A-DFBFC431646C}"/>
          </ac:spMkLst>
        </pc:spChg>
        <pc:spChg chg="add mod">
          <ac:chgData name="Timur Karimsakov" userId="ea04722c-9be7-49ff-9a17-c5a9c646d8a7" providerId="ADAL" clId="{725A8DB3-5C4A-4D23-A642-2C3988922A0A}" dt="2024-10-22T06:20:28.928" v="778"/>
          <ac:spMkLst>
            <pc:docMk/>
            <pc:sldMk cId="1261594426" sldId="2272"/>
            <ac:spMk id="31" creationId="{F2779E52-9328-13C5-AD85-F6133651076F}"/>
          </ac:spMkLst>
        </pc:spChg>
        <pc:spChg chg="del">
          <ac:chgData name="Timur Karimsakov" userId="ea04722c-9be7-49ff-9a17-c5a9c646d8a7" providerId="ADAL" clId="{725A8DB3-5C4A-4D23-A642-2C3988922A0A}" dt="2024-10-22T06:20:24.685" v="777" actId="478"/>
          <ac:spMkLst>
            <pc:docMk/>
            <pc:sldMk cId="1261594426" sldId="2272"/>
            <ac:spMk id="41" creationId="{E9F524AB-C272-6CB6-1927-D9F53E6AC55F}"/>
          </ac:spMkLst>
        </pc:spChg>
        <pc:spChg chg="mod">
          <ac:chgData name="Timur Karimsakov" userId="ea04722c-9be7-49ff-9a17-c5a9c646d8a7" providerId="ADAL" clId="{725A8DB3-5C4A-4D23-A642-2C3988922A0A}" dt="2024-10-22T06:20:49.119" v="783" actId="6549"/>
          <ac:spMkLst>
            <pc:docMk/>
            <pc:sldMk cId="1261594426" sldId="2272"/>
            <ac:spMk id="81" creationId="{96A0F0B5-8891-494B-99BB-A9C69D2898B3}"/>
          </ac:spMkLst>
        </pc:spChg>
        <pc:spChg chg="mod">
          <ac:chgData name="Timur Karimsakov" userId="ea04722c-9be7-49ff-9a17-c5a9c646d8a7" providerId="ADAL" clId="{725A8DB3-5C4A-4D23-A642-2C3988922A0A}" dt="2024-10-22T06:20:56.375" v="789" actId="20577"/>
          <ac:spMkLst>
            <pc:docMk/>
            <pc:sldMk cId="1261594426" sldId="2272"/>
            <ac:spMk id="96" creationId="{E1D943F2-AA58-9656-7ACC-4D3D69D55768}"/>
          </ac:spMkLst>
        </pc:spChg>
        <pc:spChg chg="mod">
          <ac:chgData name="Timur Karimsakov" userId="ea04722c-9be7-49ff-9a17-c5a9c646d8a7" providerId="ADAL" clId="{725A8DB3-5C4A-4D23-A642-2C3988922A0A}" dt="2024-10-22T06:21:02.474" v="796" actId="20577"/>
          <ac:spMkLst>
            <pc:docMk/>
            <pc:sldMk cId="1261594426" sldId="2272"/>
            <ac:spMk id="97" creationId="{34F01091-74D6-DA97-4B3E-1BCCD92A29A3}"/>
          </ac:spMkLst>
        </pc:spChg>
        <pc:spChg chg="mod">
          <ac:chgData name="Timur Karimsakov" userId="ea04722c-9be7-49ff-9a17-c5a9c646d8a7" providerId="ADAL" clId="{725A8DB3-5C4A-4D23-A642-2C3988922A0A}" dt="2024-10-22T06:21:10.163" v="803" actId="20577"/>
          <ac:spMkLst>
            <pc:docMk/>
            <pc:sldMk cId="1261594426" sldId="2272"/>
            <ac:spMk id="98" creationId="{5FAA098D-10D1-197C-1503-09758A5592A2}"/>
          </ac:spMkLst>
        </pc:spChg>
        <pc:spChg chg="mod">
          <ac:chgData name="Timur Karimsakov" userId="ea04722c-9be7-49ff-9a17-c5a9c646d8a7" providerId="ADAL" clId="{725A8DB3-5C4A-4D23-A642-2C3988922A0A}" dt="2024-10-22T06:21:21.916" v="813" actId="20577"/>
          <ac:spMkLst>
            <pc:docMk/>
            <pc:sldMk cId="1261594426" sldId="2272"/>
            <ac:spMk id="99" creationId="{74ECEA3C-F3D8-995A-B32A-6B07AF3736FC}"/>
          </ac:spMkLst>
        </pc:spChg>
        <pc:spChg chg="mod">
          <ac:chgData name="Timur Karimsakov" userId="ea04722c-9be7-49ff-9a17-c5a9c646d8a7" providerId="ADAL" clId="{725A8DB3-5C4A-4D23-A642-2C3988922A0A}" dt="2024-10-22T06:21:28.085" v="819" actId="20577"/>
          <ac:spMkLst>
            <pc:docMk/>
            <pc:sldMk cId="1261594426" sldId="2272"/>
            <ac:spMk id="100" creationId="{0D36ECB3-7BF8-18F4-125A-D414279DDCBF}"/>
          </ac:spMkLst>
        </pc:spChg>
        <pc:spChg chg="mod">
          <ac:chgData name="Timur Karimsakov" userId="ea04722c-9be7-49ff-9a17-c5a9c646d8a7" providerId="ADAL" clId="{725A8DB3-5C4A-4D23-A642-2C3988922A0A}" dt="2024-10-22T06:21:34.562" v="825" actId="20577"/>
          <ac:spMkLst>
            <pc:docMk/>
            <pc:sldMk cId="1261594426" sldId="2272"/>
            <ac:spMk id="101" creationId="{434A1D0E-2100-DA46-0DBF-E6D456C93F0B}"/>
          </ac:spMkLst>
        </pc:spChg>
        <pc:spChg chg="mod">
          <ac:chgData name="Timur Karimsakov" userId="ea04722c-9be7-49ff-9a17-c5a9c646d8a7" providerId="ADAL" clId="{725A8DB3-5C4A-4D23-A642-2C3988922A0A}" dt="2024-10-22T06:21:41.083" v="832" actId="20577"/>
          <ac:spMkLst>
            <pc:docMk/>
            <pc:sldMk cId="1261594426" sldId="2272"/>
            <ac:spMk id="102" creationId="{3CDEE3D8-DCF4-1E2F-B7A3-46C0A884A4FE}"/>
          </ac:spMkLst>
        </pc:spChg>
        <pc:spChg chg="mod">
          <ac:chgData name="Timur Karimsakov" userId="ea04722c-9be7-49ff-9a17-c5a9c646d8a7" providerId="ADAL" clId="{725A8DB3-5C4A-4D23-A642-2C3988922A0A}" dt="2024-10-22T06:21:54.831" v="839" actId="20577"/>
          <ac:spMkLst>
            <pc:docMk/>
            <pc:sldMk cId="1261594426" sldId="2272"/>
            <ac:spMk id="103" creationId="{F25D5F82-B5DC-ADB4-8EAC-152FC30F6D5A}"/>
          </ac:spMkLst>
        </pc:spChg>
        <pc:spChg chg="mod">
          <ac:chgData name="Timur Karimsakov" userId="ea04722c-9be7-49ff-9a17-c5a9c646d8a7" providerId="ADAL" clId="{725A8DB3-5C4A-4D23-A642-2C3988922A0A}" dt="2024-10-22T06:22:03.832" v="851" actId="20577"/>
          <ac:spMkLst>
            <pc:docMk/>
            <pc:sldMk cId="1261594426" sldId="2272"/>
            <ac:spMk id="104" creationId="{55B8B073-33B4-CEB5-66FB-5DD6B85A5EA4}"/>
          </ac:spMkLst>
        </pc:spChg>
        <pc:spChg chg="mod">
          <ac:chgData name="Timur Karimsakov" userId="ea04722c-9be7-49ff-9a17-c5a9c646d8a7" providerId="ADAL" clId="{725A8DB3-5C4A-4D23-A642-2C3988922A0A}" dt="2024-10-22T06:22:12.200" v="859" actId="20577"/>
          <ac:spMkLst>
            <pc:docMk/>
            <pc:sldMk cId="1261594426" sldId="2272"/>
            <ac:spMk id="105" creationId="{DEB6EAED-AC4B-0635-0333-ED8AE33D1033}"/>
          </ac:spMkLst>
        </pc:spChg>
        <pc:spChg chg="mod">
          <ac:chgData name="Timur Karimsakov" userId="ea04722c-9be7-49ff-9a17-c5a9c646d8a7" providerId="ADAL" clId="{725A8DB3-5C4A-4D23-A642-2C3988922A0A}" dt="2024-10-22T06:22:20.366" v="867" actId="20577"/>
          <ac:spMkLst>
            <pc:docMk/>
            <pc:sldMk cId="1261594426" sldId="2272"/>
            <ac:spMk id="107" creationId="{1EF0BC09-9D7B-3E0D-AB06-3405C510DBA1}"/>
          </ac:spMkLst>
        </pc:spChg>
        <pc:graphicFrameChg chg="add mod">
          <ac:chgData name="Timur Karimsakov" userId="ea04722c-9be7-49ff-9a17-c5a9c646d8a7" providerId="ADAL" clId="{725A8DB3-5C4A-4D23-A642-2C3988922A0A}" dt="2024-10-22T06:20:13.881" v="776" actId="167"/>
          <ac:graphicFrameMkLst>
            <pc:docMk/>
            <pc:sldMk cId="1261594426" sldId="2272"/>
            <ac:graphicFrameMk id="3" creationId="{C5138E11-B501-721B-1FF9-70017CD06F88}"/>
          </ac:graphicFrameMkLst>
        </pc:graphicFrameChg>
        <pc:graphicFrameChg chg="add del">
          <ac:chgData name="Timur Karimsakov" userId="ea04722c-9be7-49ff-9a17-c5a9c646d8a7" providerId="ADAL" clId="{725A8DB3-5C4A-4D23-A642-2C3988922A0A}" dt="2024-10-22T06:19:38.086" v="774" actId="478"/>
          <ac:graphicFrameMkLst>
            <pc:docMk/>
            <pc:sldMk cId="1261594426" sldId="2272"/>
            <ac:graphicFrameMk id="12" creationId="{B090D90C-73F6-B977-471D-5FDB8588A3CD}"/>
          </ac:graphicFrameMkLst>
        </pc:graphicFrameChg>
        <pc:cxnChg chg="add mod">
          <ac:chgData name="Timur Karimsakov" userId="ea04722c-9be7-49ff-9a17-c5a9c646d8a7" providerId="ADAL" clId="{725A8DB3-5C4A-4D23-A642-2C3988922A0A}" dt="2024-10-22T06:19:59.658" v="775"/>
          <ac:cxnSpMkLst>
            <pc:docMk/>
            <pc:sldMk cId="1261594426" sldId="2272"/>
            <ac:cxnSpMk id="11" creationId="{949CC5ED-E810-2EB7-9AFC-B2468EE49F27}"/>
          </ac:cxnSpMkLst>
        </pc:cxnChg>
        <pc:cxnChg chg="add mod">
          <ac:chgData name="Timur Karimsakov" userId="ea04722c-9be7-49ff-9a17-c5a9c646d8a7" providerId="ADAL" clId="{725A8DB3-5C4A-4D23-A642-2C3988922A0A}" dt="2024-10-22T06:19:59.658" v="775"/>
          <ac:cxnSpMkLst>
            <pc:docMk/>
            <pc:sldMk cId="1261594426" sldId="2272"/>
            <ac:cxnSpMk id="13" creationId="{58612A81-FE56-A4BD-3E9D-3F7050CA6ABB}"/>
          </ac:cxnSpMkLst>
        </pc:cxnChg>
        <pc:cxnChg chg="add mod">
          <ac:chgData name="Timur Karimsakov" userId="ea04722c-9be7-49ff-9a17-c5a9c646d8a7" providerId="ADAL" clId="{725A8DB3-5C4A-4D23-A642-2C3988922A0A}" dt="2024-10-22T06:19:59.658" v="775"/>
          <ac:cxnSpMkLst>
            <pc:docMk/>
            <pc:sldMk cId="1261594426" sldId="2272"/>
            <ac:cxnSpMk id="16" creationId="{16F2456B-F76B-182C-7EDE-A661411B13BC}"/>
          </ac:cxnSpMkLst>
        </pc:cxnChg>
        <pc:cxnChg chg="add mod">
          <ac:chgData name="Timur Karimsakov" userId="ea04722c-9be7-49ff-9a17-c5a9c646d8a7" providerId="ADAL" clId="{725A8DB3-5C4A-4D23-A642-2C3988922A0A}" dt="2024-10-22T06:19:59.658" v="775"/>
          <ac:cxnSpMkLst>
            <pc:docMk/>
            <pc:sldMk cId="1261594426" sldId="2272"/>
            <ac:cxnSpMk id="17" creationId="{DECA8E2F-3D13-EA1B-268A-3892914EBF5A}"/>
          </ac:cxnSpMkLst>
        </pc:cxnChg>
        <pc:cxnChg chg="add mod">
          <ac:chgData name="Timur Karimsakov" userId="ea04722c-9be7-49ff-9a17-c5a9c646d8a7" providerId="ADAL" clId="{725A8DB3-5C4A-4D23-A642-2C3988922A0A}" dt="2024-10-22T06:19:59.658" v="775"/>
          <ac:cxnSpMkLst>
            <pc:docMk/>
            <pc:sldMk cId="1261594426" sldId="2272"/>
            <ac:cxnSpMk id="19" creationId="{4797D1C0-DCD1-48B2-CF1F-E2F980D0209D}"/>
          </ac:cxnSpMkLst>
        </pc:cxnChg>
        <pc:cxnChg chg="add mod">
          <ac:chgData name="Timur Karimsakov" userId="ea04722c-9be7-49ff-9a17-c5a9c646d8a7" providerId="ADAL" clId="{725A8DB3-5C4A-4D23-A642-2C3988922A0A}" dt="2024-10-22T06:20:28.928" v="778"/>
          <ac:cxnSpMkLst>
            <pc:docMk/>
            <pc:sldMk cId="1261594426" sldId="2272"/>
            <ac:cxnSpMk id="25" creationId="{C740CE04-ADF9-E0E8-EEC4-429525547EAD}"/>
          </ac:cxnSpMkLst>
        </pc:cxnChg>
        <pc:cxnChg chg="add mod">
          <ac:chgData name="Timur Karimsakov" userId="ea04722c-9be7-49ff-9a17-c5a9c646d8a7" providerId="ADAL" clId="{725A8DB3-5C4A-4D23-A642-2C3988922A0A}" dt="2024-10-22T06:20:28.928" v="778"/>
          <ac:cxnSpMkLst>
            <pc:docMk/>
            <pc:sldMk cId="1261594426" sldId="2272"/>
            <ac:cxnSpMk id="26" creationId="{E50AF66E-15D2-7DA4-99FF-413915CEB84F}"/>
          </ac:cxnSpMkLst>
        </pc:cxnChg>
        <pc:cxnChg chg="add mod">
          <ac:chgData name="Timur Karimsakov" userId="ea04722c-9be7-49ff-9a17-c5a9c646d8a7" providerId="ADAL" clId="{725A8DB3-5C4A-4D23-A642-2C3988922A0A}" dt="2024-10-22T06:20:28.928" v="778"/>
          <ac:cxnSpMkLst>
            <pc:docMk/>
            <pc:sldMk cId="1261594426" sldId="2272"/>
            <ac:cxnSpMk id="27" creationId="{B0C5A60C-6AF6-767B-9BF3-796B8E3FDE81}"/>
          </ac:cxnSpMkLst>
        </pc:cxnChg>
        <pc:cxnChg chg="add mod">
          <ac:chgData name="Timur Karimsakov" userId="ea04722c-9be7-49ff-9a17-c5a9c646d8a7" providerId="ADAL" clId="{725A8DB3-5C4A-4D23-A642-2C3988922A0A}" dt="2024-10-22T06:20:28.928" v="778"/>
          <ac:cxnSpMkLst>
            <pc:docMk/>
            <pc:sldMk cId="1261594426" sldId="2272"/>
            <ac:cxnSpMk id="28" creationId="{3FBE953C-0362-4ED9-2A41-D6E8894067D6}"/>
          </ac:cxnSpMkLst>
        </pc:cxnChg>
        <pc:cxnChg chg="add mod">
          <ac:chgData name="Timur Karimsakov" userId="ea04722c-9be7-49ff-9a17-c5a9c646d8a7" providerId="ADAL" clId="{725A8DB3-5C4A-4D23-A642-2C3988922A0A}" dt="2024-10-22T06:20:28.928" v="778"/>
          <ac:cxnSpMkLst>
            <pc:docMk/>
            <pc:sldMk cId="1261594426" sldId="2272"/>
            <ac:cxnSpMk id="32" creationId="{3AC7371A-5620-E525-F120-6F01696EAADD}"/>
          </ac:cxnSpMkLst>
        </pc:cxnChg>
        <pc:cxnChg chg="del">
          <ac:chgData name="Timur Karimsakov" userId="ea04722c-9be7-49ff-9a17-c5a9c646d8a7" providerId="ADAL" clId="{725A8DB3-5C4A-4D23-A642-2C3988922A0A}" dt="2024-10-22T06:20:24.685" v="777" actId="478"/>
          <ac:cxnSpMkLst>
            <pc:docMk/>
            <pc:sldMk cId="1261594426" sldId="2272"/>
            <ac:cxnSpMk id="36" creationId="{F9570CC5-422B-F6AE-D174-FC326F18DBDD}"/>
          </ac:cxnSpMkLst>
        </pc:cxnChg>
        <pc:cxnChg chg="del">
          <ac:chgData name="Timur Karimsakov" userId="ea04722c-9be7-49ff-9a17-c5a9c646d8a7" providerId="ADAL" clId="{725A8DB3-5C4A-4D23-A642-2C3988922A0A}" dt="2024-10-22T06:20:24.685" v="777" actId="478"/>
          <ac:cxnSpMkLst>
            <pc:docMk/>
            <pc:sldMk cId="1261594426" sldId="2272"/>
            <ac:cxnSpMk id="37" creationId="{8FEBBE9E-E54D-B749-AD40-9C9102C94FFC}"/>
          </ac:cxnSpMkLst>
        </pc:cxnChg>
        <pc:cxnChg chg="del">
          <ac:chgData name="Timur Karimsakov" userId="ea04722c-9be7-49ff-9a17-c5a9c646d8a7" providerId="ADAL" clId="{725A8DB3-5C4A-4D23-A642-2C3988922A0A}" dt="2024-10-22T06:20:24.685" v="777" actId="478"/>
          <ac:cxnSpMkLst>
            <pc:docMk/>
            <pc:sldMk cId="1261594426" sldId="2272"/>
            <ac:cxnSpMk id="38" creationId="{3E6C50F2-2A20-A5D8-ED7F-D9765FEB7512}"/>
          </ac:cxnSpMkLst>
        </pc:cxnChg>
        <pc:cxnChg chg="del">
          <ac:chgData name="Timur Karimsakov" userId="ea04722c-9be7-49ff-9a17-c5a9c646d8a7" providerId="ADAL" clId="{725A8DB3-5C4A-4D23-A642-2C3988922A0A}" dt="2024-10-22T06:20:24.685" v="777" actId="478"/>
          <ac:cxnSpMkLst>
            <pc:docMk/>
            <pc:sldMk cId="1261594426" sldId="2272"/>
            <ac:cxnSpMk id="39" creationId="{08557A76-A1A5-0049-F6D0-38C0B9C6F3D2}"/>
          </ac:cxnSpMkLst>
        </pc:cxnChg>
        <pc:cxnChg chg="del">
          <ac:chgData name="Timur Karimsakov" userId="ea04722c-9be7-49ff-9a17-c5a9c646d8a7" providerId="ADAL" clId="{725A8DB3-5C4A-4D23-A642-2C3988922A0A}" dt="2024-10-22T06:20:24.685" v="777" actId="478"/>
          <ac:cxnSpMkLst>
            <pc:docMk/>
            <pc:sldMk cId="1261594426" sldId="2272"/>
            <ac:cxnSpMk id="42" creationId="{DA364F8F-DBAA-8CBD-ACEC-5181DC4BA4A6}"/>
          </ac:cxnSpMkLst>
        </pc:cxnChg>
      </pc:sldChg>
      <pc:sldChg chg="del">
        <pc:chgData name="Timur Karimsakov" userId="ea04722c-9be7-49ff-9a17-c5a9c646d8a7" providerId="ADAL" clId="{725A8DB3-5C4A-4D23-A642-2C3988922A0A}" dt="2024-10-22T07:09:52.753" v="1454" actId="47"/>
        <pc:sldMkLst>
          <pc:docMk/>
          <pc:sldMk cId="3326975222" sldId="2273"/>
        </pc:sldMkLst>
      </pc:sldChg>
      <pc:sldChg chg="del">
        <pc:chgData name="Timur Karimsakov" userId="ea04722c-9be7-49ff-9a17-c5a9c646d8a7" providerId="ADAL" clId="{725A8DB3-5C4A-4D23-A642-2C3988922A0A}" dt="2024-10-22T06:49:55.850" v="1112" actId="47"/>
        <pc:sldMkLst>
          <pc:docMk/>
          <pc:sldMk cId="2680771361" sldId="2274"/>
        </pc:sldMkLst>
      </pc:sldChg>
      <pc:sldChg chg="addSp modSp mod">
        <pc:chgData name="Timur Karimsakov" userId="ea04722c-9be7-49ff-9a17-c5a9c646d8a7" providerId="ADAL" clId="{725A8DB3-5C4A-4D23-A642-2C3988922A0A}" dt="2024-10-22T05:58:58.267" v="745" actId="1036"/>
        <pc:sldMkLst>
          <pc:docMk/>
          <pc:sldMk cId="4135786988" sldId="2275"/>
        </pc:sldMkLst>
        <pc:spChg chg="mod">
          <ac:chgData name="Timur Karimsakov" userId="ea04722c-9be7-49ff-9a17-c5a9c646d8a7" providerId="ADAL" clId="{725A8DB3-5C4A-4D23-A642-2C3988922A0A}" dt="2024-10-22T05:52:15.524" v="216" actId="6549"/>
          <ac:spMkLst>
            <pc:docMk/>
            <pc:sldMk cId="4135786988" sldId="2275"/>
            <ac:spMk id="2" creationId="{BD2CB8FC-6BA7-8072-C621-DF5C7DA19DDD}"/>
          </ac:spMkLst>
        </pc:spChg>
        <pc:spChg chg="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4" creationId="{235083C2-5757-7E48-3DD7-E82083F8F912}"/>
          </ac:spMkLst>
        </pc:spChg>
        <pc:spChg chg="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6" creationId="{B23BE2FE-552A-E578-0D98-091BCDECCE51}"/>
          </ac:spMkLst>
        </pc:spChg>
        <pc:spChg chg="add 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7" creationId="{FA2B7AA0-84FC-A631-E83E-60EE4859D69D}"/>
          </ac:spMkLst>
        </pc:spChg>
        <pc:spChg chg="mod">
          <ac:chgData name="Timur Karimsakov" userId="ea04722c-9be7-49ff-9a17-c5a9c646d8a7" providerId="ADAL" clId="{725A8DB3-5C4A-4D23-A642-2C3988922A0A}" dt="2024-10-22T05:57:57.604" v="666" actId="20577"/>
          <ac:spMkLst>
            <pc:docMk/>
            <pc:sldMk cId="4135786988" sldId="2275"/>
            <ac:spMk id="8" creationId="{5AFE7194-754A-139A-129B-C29D97705FDC}"/>
          </ac:spMkLst>
        </pc:spChg>
        <pc:spChg chg="mod">
          <ac:chgData name="Timur Karimsakov" userId="ea04722c-9be7-49ff-9a17-c5a9c646d8a7" providerId="ADAL" clId="{725A8DB3-5C4A-4D23-A642-2C3988922A0A}" dt="2024-10-22T05:57:59.947" v="670" actId="20577"/>
          <ac:spMkLst>
            <pc:docMk/>
            <pc:sldMk cId="4135786988" sldId="2275"/>
            <ac:spMk id="10" creationId="{6308A178-8EED-6E62-8CF2-A6BCE10E4525}"/>
          </ac:spMkLst>
        </pc:spChg>
        <pc:spChg chg="add 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11" creationId="{6F011FB5-53E4-FDC2-9DA5-A8B7BCFEBDC3}"/>
          </ac:spMkLst>
        </pc:spChg>
        <pc:spChg chg="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23" creationId="{8C3CDE9E-035D-BFE2-205C-1E57970DE1EB}"/>
          </ac:spMkLst>
        </pc:spChg>
        <pc:spChg chg="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24" creationId="{FFAFFEA8-1DF7-6FF3-BBB3-5C7EA0C9F237}"/>
          </ac:spMkLst>
        </pc:spChg>
        <pc:spChg chg="mod">
          <ac:chgData name="Timur Karimsakov" userId="ea04722c-9be7-49ff-9a17-c5a9c646d8a7" providerId="ADAL" clId="{725A8DB3-5C4A-4D23-A642-2C3988922A0A}" dt="2024-10-22T05:54:34.295" v="389" actId="20577"/>
          <ac:spMkLst>
            <pc:docMk/>
            <pc:sldMk cId="4135786988" sldId="2275"/>
            <ac:spMk id="27" creationId="{52BC447A-6F39-66A3-FE03-5C4E6B746FC4}"/>
          </ac:spMkLst>
        </pc:spChg>
        <pc:spChg chg="mod">
          <ac:chgData name="Timur Karimsakov" userId="ea04722c-9be7-49ff-9a17-c5a9c646d8a7" providerId="ADAL" clId="{725A8DB3-5C4A-4D23-A642-2C3988922A0A}" dt="2024-10-22T05:54:43.146" v="401" actId="20577"/>
          <ac:spMkLst>
            <pc:docMk/>
            <pc:sldMk cId="4135786988" sldId="2275"/>
            <ac:spMk id="28" creationId="{80EBAB59-C220-B3D0-45BE-A587F6369F63}"/>
          </ac:spMkLst>
        </pc:spChg>
        <pc:spChg chg="mod">
          <ac:chgData name="Timur Karimsakov" userId="ea04722c-9be7-49ff-9a17-c5a9c646d8a7" providerId="ADAL" clId="{725A8DB3-5C4A-4D23-A642-2C3988922A0A}" dt="2024-10-22T05:58:58.267" v="745" actId="1036"/>
          <ac:spMkLst>
            <pc:docMk/>
            <pc:sldMk cId="4135786988" sldId="2275"/>
            <ac:spMk id="29" creationId="{0D44198A-15FA-6196-A1B4-4A48106931E3}"/>
          </ac:spMkLst>
        </pc:spChg>
        <pc:grpChg chg="mod">
          <ac:chgData name="Timur Karimsakov" userId="ea04722c-9be7-49ff-9a17-c5a9c646d8a7" providerId="ADAL" clId="{725A8DB3-5C4A-4D23-A642-2C3988922A0A}" dt="2024-10-22T05:58:58.267" v="745" actId="1036"/>
          <ac:grpSpMkLst>
            <pc:docMk/>
            <pc:sldMk cId="4135786988" sldId="2275"/>
            <ac:grpSpMk id="5" creationId="{6C3CFBC9-02D3-15AD-185C-028D26028444}"/>
          </ac:grpSpMkLst>
        </pc:grpChg>
        <pc:grpChg chg="mod">
          <ac:chgData name="Timur Karimsakov" userId="ea04722c-9be7-49ff-9a17-c5a9c646d8a7" providerId="ADAL" clId="{725A8DB3-5C4A-4D23-A642-2C3988922A0A}" dt="2024-10-22T05:58:58.267" v="745" actId="1036"/>
          <ac:grpSpMkLst>
            <pc:docMk/>
            <pc:sldMk cId="4135786988" sldId="2275"/>
            <ac:grpSpMk id="26" creationId="{4177EDD4-383E-5B2E-AD23-4BB2B79954F8}"/>
          </ac:grpSpMkLst>
        </pc:grpChg>
        <pc:cxnChg chg="mod">
          <ac:chgData name="Timur Karimsakov" userId="ea04722c-9be7-49ff-9a17-c5a9c646d8a7" providerId="ADAL" clId="{725A8DB3-5C4A-4D23-A642-2C3988922A0A}" dt="2024-10-22T05:58:58.267" v="745" actId="1036"/>
          <ac:cxnSpMkLst>
            <pc:docMk/>
            <pc:sldMk cId="4135786988" sldId="2275"/>
            <ac:cxnSpMk id="3" creationId="{D2AB8C45-009F-A7CC-576B-61C0E279C5CF}"/>
          </ac:cxnSpMkLst>
        </pc:cxnChg>
        <pc:cxnChg chg="mod">
          <ac:chgData name="Timur Karimsakov" userId="ea04722c-9be7-49ff-9a17-c5a9c646d8a7" providerId="ADAL" clId="{725A8DB3-5C4A-4D23-A642-2C3988922A0A}" dt="2024-10-22T05:58:58.267" v="745" actId="1036"/>
          <ac:cxnSpMkLst>
            <pc:docMk/>
            <pc:sldMk cId="4135786988" sldId="2275"/>
            <ac:cxnSpMk id="12" creationId="{F25F9A3C-A6AC-7B2C-A7C3-15F9DC24E247}"/>
          </ac:cxnSpMkLst>
        </pc:cxnChg>
      </pc:sldChg>
      <pc:sldChg chg="addSp delSp modSp add mod">
        <pc:chgData name="Timur Karimsakov" userId="ea04722c-9be7-49ff-9a17-c5a9c646d8a7" providerId="ADAL" clId="{725A8DB3-5C4A-4D23-A642-2C3988922A0A}" dt="2024-10-22T07:09:44.221" v="1453" actId="20577"/>
        <pc:sldMkLst>
          <pc:docMk/>
          <pc:sldMk cId="3793422932" sldId="2276"/>
        </pc:sldMkLst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2" creationId="{E2ACA897-1275-1B3F-DF54-A2652605BB86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3" creationId="{7713078F-E1EF-A3DB-EF51-4E3CB26CC1DB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4" creationId="{BDC8299B-A54D-C4C5-1F4E-01370685B678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5" creationId="{3BDF9FDE-14C0-A91A-67D7-21196681CF6B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6" creationId="{0D248B02-CFFF-7BB0-5656-0E815B09FD4F}"/>
          </ac:spMkLst>
        </pc:spChg>
        <pc:spChg chg="add mod">
          <ac:chgData name="Timur Karimsakov" userId="ea04722c-9be7-49ff-9a17-c5a9c646d8a7" providerId="ADAL" clId="{725A8DB3-5C4A-4D23-A642-2C3988922A0A}" dt="2024-10-22T07:07:30.244" v="1414"/>
          <ac:spMkLst>
            <pc:docMk/>
            <pc:sldMk cId="3793422932" sldId="2276"/>
            <ac:spMk id="7" creationId="{541ED2B3-E0E9-47BA-DBD0-358541B85716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8" creationId="{5FB2B10B-8A3F-07EF-CD24-F24A59442658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9" creationId="{96D9F33A-C69C-2110-4CA9-14C69704658E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10" creationId="{7B7FEB6E-BF99-6FFE-48E8-4BEA45172F29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11" creationId="{C6965CAC-3C8D-76FC-5C2F-18761BFD6020}"/>
          </ac:spMkLst>
        </pc:spChg>
        <pc:spChg chg="del">
          <ac:chgData name="Timur Karimsakov" userId="ea04722c-9be7-49ff-9a17-c5a9c646d8a7" providerId="ADAL" clId="{725A8DB3-5C4A-4D23-A642-2C3988922A0A}" dt="2024-10-22T07:08:16.372" v="1422" actId="478"/>
          <ac:spMkLst>
            <pc:docMk/>
            <pc:sldMk cId="3793422932" sldId="2276"/>
            <ac:spMk id="12" creationId="{868B19A3-723C-AE75-B4A7-2A827336010B}"/>
          </ac:spMkLst>
        </pc:spChg>
        <pc:spChg chg="add mod">
          <ac:chgData name="Timur Karimsakov" userId="ea04722c-9be7-49ff-9a17-c5a9c646d8a7" providerId="ADAL" clId="{725A8DB3-5C4A-4D23-A642-2C3988922A0A}" dt="2024-10-22T07:07:46.724" v="1416"/>
          <ac:spMkLst>
            <pc:docMk/>
            <pc:sldMk cId="3793422932" sldId="2276"/>
            <ac:spMk id="13" creationId="{553EF9EC-78C3-B040-413A-0C5C1814140E}"/>
          </ac:spMkLst>
        </pc:spChg>
        <pc:spChg chg="add mod">
          <ac:chgData name="Timur Karimsakov" userId="ea04722c-9be7-49ff-9a17-c5a9c646d8a7" providerId="ADAL" clId="{725A8DB3-5C4A-4D23-A642-2C3988922A0A}" dt="2024-10-22T07:07:55.457" v="1418"/>
          <ac:spMkLst>
            <pc:docMk/>
            <pc:sldMk cId="3793422932" sldId="2276"/>
            <ac:spMk id="16" creationId="{0A4C0E74-A463-F23C-37DD-859C4BEE0D37}"/>
          </ac:spMkLst>
        </pc:spChg>
        <pc:spChg chg="add mod">
          <ac:chgData name="Timur Karimsakov" userId="ea04722c-9be7-49ff-9a17-c5a9c646d8a7" providerId="ADAL" clId="{725A8DB3-5C4A-4D23-A642-2C3988922A0A}" dt="2024-10-22T07:07:55.457" v="1418"/>
          <ac:spMkLst>
            <pc:docMk/>
            <pc:sldMk cId="3793422932" sldId="2276"/>
            <ac:spMk id="18" creationId="{9DCEA2ED-A574-55C7-312B-BDD2A8654528}"/>
          </ac:spMkLst>
        </pc:spChg>
        <pc:spChg chg="add mod">
          <ac:chgData name="Timur Karimsakov" userId="ea04722c-9be7-49ff-9a17-c5a9c646d8a7" providerId="ADAL" clId="{725A8DB3-5C4A-4D23-A642-2C3988922A0A}" dt="2024-10-22T07:07:55.457" v="1418"/>
          <ac:spMkLst>
            <pc:docMk/>
            <pc:sldMk cId="3793422932" sldId="2276"/>
            <ac:spMk id="21" creationId="{47C98A1A-731D-4437-ADF6-9E1ADB3A7059}"/>
          </ac:spMkLst>
        </pc:spChg>
        <pc:spChg chg="del">
          <ac:chgData name="Timur Karimsakov" userId="ea04722c-9be7-49ff-9a17-c5a9c646d8a7" providerId="ADAL" clId="{725A8DB3-5C4A-4D23-A642-2C3988922A0A}" dt="2024-10-22T07:07:55.125" v="1417" actId="478"/>
          <ac:spMkLst>
            <pc:docMk/>
            <pc:sldMk cId="3793422932" sldId="2276"/>
            <ac:spMk id="22" creationId="{4E419343-C5C2-DE1B-DC70-525CD0425129}"/>
          </ac:spMkLst>
        </pc:spChg>
        <pc:spChg chg="del">
          <ac:chgData name="Timur Karimsakov" userId="ea04722c-9be7-49ff-9a17-c5a9c646d8a7" providerId="ADAL" clId="{725A8DB3-5C4A-4D23-A642-2C3988922A0A}" dt="2024-10-22T07:07:46.445" v="1415" actId="478"/>
          <ac:spMkLst>
            <pc:docMk/>
            <pc:sldMk cId="3793422932" sldId="2276"/>
            <ac:spMk id="26" creationId="{5207D035-86B8-0CEC-0970-2497474E02B0}"/>
          </ac:spMkLst>
        </pc:spChg>
        <pc:spChg chg="add mod">
          <ac:chgData name="Timur Karimsakov" userId="ea04722c-9be7-49ff-9a17-c5a9c646d8a7" providerId="ADAL" clId="{725A8DB3-5C4A-4D23-A642-2C3988922A0A}" dt="2024-10-22T07:08:01.473" v="1421"/>
          <ac:spMkLst>
            <pc:docMk/>
            <pc:sldMk cId="3793422932" sldId="2276"/>
            <ac:spMk id="27" creationId="{B8FF1FFB-3261-366E-456B-64839884A38C}"/>
          </ac:spMkLst>
        </pc:spChg>
        <pc:spChg chg="add mod">
          <ac:chgData name="Timur Karimsakov" userId="ea04722c-9be7-49ff-9a17-c5a9c646d8a7" providerId="ADAL" clId="{725A8DB3-5C4A-4D23-A642-2C3988922A0A}" dt="2024-10-22T07:08:01.473" v="1421"/>
          <ac:spMkLst>
            <pc:docMk/>
            <pc:sldMk cId="3793422932" sldId="2276"/>
            <ac:spMk id="29" creationId="{FDFB7CCA-5D5C-AEB2-821D-8EF05719A6EE}"/>
          </ac:spMkLst>
        </pc:spChg>
        <pc:spChg chg="del">
          <ac:chgData name="Timur Karimsakov" userId="ea04722c-9be7-49ff-9a17-c5a9c646d8a7" providerId="ADAL" clId="{725A8DB3-5C4A-4D23-A642-2C3988922A0A}" dt="2024-10-22T07:07:59.622" v="1419" actId="478"/>
          <ac:spMkLst>
            <pc:docMk/>
            <pc:sldMk cId="3793422932" sldId="2276"/>
            <ac:spMk id="32" creationId="{1EC3595D-077E-5E62-6167-A5A6D14EF34D}"/>
          </ac:spMkLst>
        </pc:spChg>
        <pc:spChg chg="add mod">
          <ac:chgData name="Timur Karimsakov" userId="ea04722c-9be7-49ff-9a17-c5a9c646d8a7" providerId="ADAL" clId="{725A8DB3-5C4A-4D23-A642-2C3988922A0A}" dt="2024-10-22T07:08:01.473" v="1421"/>
          <ac:spMkLst>
            <pc:docMk/>
            <pc:sldMk cId="3793422932" sldId="2276"/>
            <ac:spMk id="33" creationId="{6CEBF7A6-3071-CFA7-80E5-B68E04D156FD}"/>
          </ac:spMkLst>
        </pc:spChg>
        <pc:spChg chg="add mod">
          <ac:chgData name="Timur Karimsakov" userId="ea04722c-9be7-49ff-9a17-c5a9c646d8a7" providerId="ADAL" clId="{725A8DB3-5C4A-4D23-A642-2C3988922A0A}" dt="2024-10-22T07:08:17.725" v="1423"/>
          <ac:spMkLst>
            <pc:docMk/>
            <pc:sldMk cId="3793422932" sldId="2276"/>
            <ac:spMk id="34" creationId="{FA5A93A8-B628-7F13-0927-29B4BB7E5DA8}"/>
          </ac:spMkLst>
        </pc:spChg>
        <pc:spChg chg="del">
          <ac:chgData name="Timur Karimsakov" userId="ea04722c-9be7-49ff-9a17-c5a9c646d8a7" providerId="ADAL" clId="{725A8DB3-5C4A-4D23-A642-2C3988922A0A}" dt="2024-10-22T07:08:01.188" v="1420" actId="478"/>
          <ac:spMkLst>
            <pc:docMk/>
            <pc:sldMk cId="3793422932" sldId="2276"/>
            <ac:spMk id="36" creationId="{5BAE1D1C-0FB9-4177-7EF7-7CA9FB17812C}"/>
          </ac:spMkLst>
        </pc:spChg>
        <pc:spChg chg="del">
          <ac:chgData name="Timur Karimsakov" userId="ea04722c-9be7-49ff-9a17-c5a9c646d8a7" providerId="ADAL" clId="{725A8DB3-5C4A-4D23-A642-2C3988922A0A}" dt="2024-10-22T07:07:29.980" v="1413" actId="478"/>
          <ac:spMkLst>
            <pc:docMk/>
            <pc:sldMk cId="3793422932" sldId="2276"/>
            <ac:spMk id="37" creationId="{E26DD868-52B5-B510-37AD-15634F3D01D1}"/>
          </ac:spMkLst>
        </pc:spChg>
        <pc:spChg chg="add mod">
          <ac:chgData name="Timur Karimsakov" userId="ea04722c-9be7-49ff-9a17-c5a9c646d8a7" providerId="ADAL" clId="{725A8DB3-5C4A-4D23-A642-2C3988922A0A}" dt="2024-10-22T07:08:43.783" v="1424" actId="1076"/>
          <ac:spMkLst>
            <pc:docMk/>
            <pc:sldMk cId="3793422932" sldId="2276"/>
            <ac:spMk id="38" creationId="{F708C74D-4461-0312-C080-5C4E7D89EA45}"/>
          </ac:spMkLst>
        </pc:spChg>
        <pc:spChg chg="add mod">
          <ac:chgData name="Timur Karimsakov" userId="ea04722c-9be7-49ff-9a17-c5a9c646d8a7" providerId="ADAL" clId="{725A8DB3-5C4A-4D23-A642-2C3988922A0A}" dt="2024-10-22T07:08:48.725" v="1425" actId="1076"/>
          <ac:spMkLst>
            <pc:docMk/>
            <pc:sldMk cId="3793422932" sldId="2276"/>
            <ac:spMk id="39" creationId="{EC5A2092-B9BE-783B-EDBF-7067523F23B7}"/>
          </ac:spMkLst>
        </pc:spChg>
        <pc:spChg chg="add mod">
          <ac:chgData name="Timur Karimsakov" userId="ea04722c-9be7-49ff-9a17-c5a9c646d8a7" providerId="ADAL" clId="{725A8DB3-5C4A-4D23-A642-2C3988922A0A}" dt="2024-10-22T07:08:54.462" v="1426" actId="1076"/>
          <ac:spMkLst>
            <pc:docMk/>
            <pc:sldMk cId="3793422932" sldId="2276"/>
            <ac:spMk id="40" creationId="{00A474E5-0A27-036D-A40B-2C23BA8BBC88}"/>
          </ac:spMkLst>
        </pc:spChg>
        <pc:spChg chg="add mod">
          <ac:chgData name="Timur Karimsakov" userId="ea04722c-9be7-49ff-9a17-c5a9c646d8a7" providerId="ADAL" clId="{725A8DB3-5C4A-4D23-A642-2C3988922A0A}" dt="2024-10-22T07:08:59.362" v="1427" actId="1076"/>
          <ac:spMkLst>
            <pc:docMk/>
            <pc:sldMk cId="3793422932" sldId="2276"/>
            <ac:spMk id="41" creationId="{771AA7BF-6897-2CBE-2106-E5C6EC797774}"/>
          </ac:spMkLst>
        </pc:spChg>
        <pc:spChg chg="add mod">
          <ac:chgData name="Timur Karimsakov" userId="ea04722c-9be7-49ff-9a17-c5a9c646d8a7" providerId="ADAL" clId="{725A8DB3-5C4A-4D23-A642-2C3988922A0A}" dt="2024-10-22T07:09:05.629" v="1428" actId="1076"/>
          <ac:spMkLst>
            <pc:docMk/>
            <pc:sldMk cId="3793422932" sldId="2276"/>
            <ac:spMk id="42" creationId="{62B875D9-5DB6-C312-7A8C-28AFF69EDDE2}"/>
          </ac:spMkLst>
        </pc:spChg>
        <pc:spChg chg="add mod">
          <ac:chgData name="Timur Karimsakov" userId="ea04722c-9be7-49ff-9a17-c5a9c646d8a7" providerId="ADAL" clId="{725A8DB3-5C4A-4D23-A642-2C3988922A0A}" dt="2024-10-22T07:09:14.814" v="1431" actId="1037"/>
          <ac:spMkLst>
            <pc:docMk/>
            <pc:sldMk cId="3793422932" sldId="2276"/>
            <ac:spMk id="43" creationId="{9CDDA0A4-523F-1936-01BB-B3B53A171209}"/>
          </ac:spMkLst>
        </pc:spChg>
        <pc:spChg chg="add mod">
          <ac:chgData name="Timur Karimsakov" userId="ea04722c-9be7-49ff-9a17-c5a9c646d8a7" providerId="ADAL" clId="{725A8DB3-5C4A-4D23-A642-2C3988922A0A}" dt="2024-10-22T07:09:21.134" v="1432" actId="1076"/>
          <ac:spMkLst>
            <pc:docMk/>
            <pc:sldMk cId="3793422932" sldId="2276"/>
            <ac:spMk id="44" creationId="{C3FCFD4C-F527-0EE5-24B2-CDA5F57A952C}"/>
          </ac:spMkLst>
        </pc:spChg>
        <pc:spChg chg="add mod">
          <ac:chgData name="Timur Karimsakov" userId="ea04722c-9be7-49ff-9a17-c5a9c646d8a7" providerId="ADAL" clId="{725A8DB3-5C4A-4D23-A642-2C3988922A0A}" dt="2024-10-22T07:09:34.944" v="1436" actId="1076"/>
          <ac:spMkLst>
            <pc:docMk/>
            <pc:sldMk cId="3793422932" sldId="2276"/>
            <ac:spMk id="45" creationId="{CA1CCD24-4921-9A37-807F-A9BB0B8060D3}"/>
          </ac:spMkLst>
        </pc:spChg>
        <pc:spChg chg="add mod">
          <ac:chgData name="Timur Karimsakov" userId="ea04722c-9be7-49ff-9a17-c5a9c646d8a7" providerId="ADAL" clId="{725A8DB3-5C4A-4D23-A642-2C3988922A0A}" dt="2024-10-22T07:09:44.221" v="1453" actId="20577"/>
          <ac:spMkLst>
            <pc:docMk/>
            <pc:sldMk cId="3793422932" sldId="2276"/>
            <ac:spMk id="46" creationId="{08677218-FC5E-373D-1FE6-01E86F37CCAF}"/>
          </ac:spMkLst>
        </pc:spChg>
        <pc:cxnChg chg="add mod">
          <ac:chgData name="Timur Karimsakov" userId="ea04722c-9be7-49ff-9a17-c5a9c646d8a7" providerId="ADAL" clId="{725A8DB3-5C4A-4D23-A642-2C3988922A0A}" dt="2024-10-22T07:07:55.457" v="1418"/>
          <ac:cxnSpMkLst>
            <pc:docMk/>
            <pc:sldMk cId="3793422932" sldId="2276"/>
            <ac:cxnSpMk id="14" creationId="{41F101CF-9C4B-D8C0-C1A1-3246647DD842}"/>
          </ac:cxnSpMkLst>
        </pc:cxnChg>
        <pc:cxnChg chg="add mod">
          <ac:chgData name="Timur Karimsakov" userId="ea04722c-9be7-49ff-9a17-c5a9c646d8a7" providerId="ADAL" clId="{725A8DB3-5C4A-4D23-A642-2C3988922A0A}" dt="2024-10-22T07:07:55.457" v="1418"/>
          <ac:cxnSpMkLst>
            <pc:docMk/>
            <pc:sldMk cId="3793422932" sldId="2276"/>
            <ac:cxnSpMk id="15" creationId="{E7F3485E-F03F-81AC-FCFF-7A570D9005FA}"/>
          </ac:cxnSpMkLst>
        </pc:cxnChg>
        <pc:cxnChg chg="add mod">
          <ac:chgData name="Timur Karimsakov" userId="ea04722c-9be7-49ff-9a17-c5a9c646d8a7" providerId="ADAL" clId="{725A8DB3-5C4A-4D23-A642-2C3988922A0A}" dt="2024-10-22T07:07:55.457" v="1418"/>
          <ac:cxnSpMkLst>
            <pc:docMk/>
            <pc:sldMk cId="3793422932" sldId="2276"/>
            <ac:cxnSpMk id="17" creationId="{E89A1D4A-89BD-6AA6-C4F1-D17BC0C7FC03}"/>
          </ac:cxnSpMkLst>
        </pc:cxnChg>
        <pc:cxnChg chg="add mod">
          <ac:chgData name="Timur Karimsakov" userId="ea04722c-9be7-49ff-9a17-c5a9c646d8a7" providerId="ADAL" clId="{725A8DB3-5C4A-4D23-A642-2C3988922A0A}" dt="2024-10-22T07:07:55.457" v="1418"/>
          <ac:cxnSpMkLst>
            <pc:docMk/>
            <pc:sldMk cId="3793422932" sldId="2276"/>
            <ac:cxnSpMk id="20" creationId="{34FAB393-136C-AE73-5E59-EE36438403D9}"/>
          </ac:cxnSpMkLst>
        </pc:cxnChg>
        <pc:cxnChg chg="add mod">
          <ac:chgData name="Timur Karimsakov" userId="ea04722c-9be7-49ff-9a17-c5a9c646d8a7" providerId="ADAL" clId="{725A8DB3-5C4A-4D23-A642-2C3988922A0A}" dt="2024-10-22T07:08:01.473" v="1421"/>
          <ac:cxnSpMkLst>
            <pc:docMk/>
            <pc:sldMk cId="3793422932" sldId="2276"/>
            <ac:cxnSpMk id="23" creationId="{FE0F55CB-D270-466D-13E6-09AD4DCB3EEA}"/>
          </ac:cxnSpMkLst>
        </pc:cxnChg>
        <pc:cxnChg chg="add mod">
          <ac:chgData name="Timur Karimsakov" userId="ea04722c-9be7-49ff-9a17-c5a9c646d8a7" providerId="ADAL" clId="{725A8DB3-5C4A-4D23-A642-2C3988922A0A}" dt="2024-10-22T07:08:01.473" v="1421"/>
          <ac:cxnSpMkLst>
            <pc:docMk/>
            <pc:sldMk cId="3793422932" sldId="2276"/>
            <ac:cxnSpMk id="25" creationId="{8A003B71-30F7-C171-1374-CF6AEC1D976B}"/>
          </ac:cxnSpMkLst>
        </pc:cxnChg>
        <pc:cxnChg chg="add mod">
          <ac:chgData name="Timur Karimsakov" userId="ea04722c-9be7-49ff-9a17-c5a9c646d8a7" providerId="ADAL" clId="{725A8DB3-5C4A-4D23-A642-2C3988922A0A}" dt="2024-10-22T07:08:01.473" v="1421"/>
          <ac:cxnSpMkLst>
            <pc:docMk/>
            <pc:sldMk cId="3793422932" sldId="2276"/>
            <ac:cxnSpMk id="28" creationId="{97A049D0-B0C8-8722-7DE7-D41F36199AC1}"/>
          </ac:cxnSpMkLst>
        </pc:cxnChg>
        <pc:cxnChg chg="add del mod">
          <ac:chgData name="Timur Karimsakov" userId="ea04722c-9be7-49ff-9a17-c5a9c646d8a7" providerId="ADAL" clId="{725A8DB3-5C4A-4D23-A642-2C3988922A0A}" dt="2024-10-22T07:08:16.372" v="1422" actId="478"/>
          <ac:cxnSpMkLst>
            <pc:docMk/>
            <pc:sldMk cId="3793422932" sldId="2276"/>
            <ac:cxnSpMk id="30" creationId="{7B2BA7DD-B489-5E18-ED42-04B6282620DC}"/>
          </ac:cxnSpMkLst>
        </pc:cxnChg>
        <pc:cxnChg chg="del">
          <ac:chgData name="Timur Karimsakov" userId="ea04722c-9be7-49ff-9a17-c5a9c646d8a7" providerId="ADAL" clId="{725A8DB3-5C4A-4D23-A642-2C3988922A0A}" dt="2024-10-22T07:07:59.622" v="1419" actId="478"/>
          <ac:cxnSpMkLst>
            <pc:docMk/>
            <pc:sldMk cId="3793422932" sldId="2276"/>
            <ac:cxnSpMk id="31" creationId="{9F39AEC2-EF5A-4085-3F76-1D3EDE29D3F8}"/>
          </ac:cxnSpMkLst>
        </pc:cxnChg>
        <pc:cxnChg chg="del">
          <ac:chgData name="Timur Karimsakov" userId="ea04722c-9be7-49ff-9a17-c5a9c646d8a7" providerId="ADAL" clId="{725A8DB3-5C4A-4D23-A642-2C3988922A0A}" dt="2024-10-22T07:07:59.622" v="1419" actId="478"/>
          <ac:cxnSpMkLst>
            <pc:docMk/>
            <pc:sldMk cId="3793422932" sldId="2276"/>
            <ac:cxnSpMk id="35" creationId="{8FD861E5-DFD4-3393-6F5D-883DFAB20E85}"/>
          </ac:cxnSpMkLst>
        </pc:cxnChg>
      </pc:sldChg>
    </pc:docChg>
  </pc:docChgLst>
  <pc:docChgLst>
    <pc:chgData name="Timur Karimsakov" userId="ea04722c-9be7-49ff-9a17-c5a9c646d8a7" providerId="ADAL" clId="{350D9B21-D69A-49EF-84B3-835EE077AC17}"/>
    <pc:docChg chg="undo redo custSel addSld delSld modSld sldOrd">
      <pc:chgData name="Timur Karimsakov" userId="ea04722c-9be7-49ff-9a17-c5a9c646d8a7" providerId="ADAL" clId="{350D9B21-D69A-49EF-84B3-835EE077AC17}" dt="2024-08-26T06:28:33.025" v="1323" actId="21"/>
      <pc:docMkLst>
        <pc:docMk/>
      </pc:docMkLst>
      <pc:sldChg chg="modSp mod">
        <pc:chgData name="Timur Karimsakov" userId="ea04722c-9be7-49ff-9a17-c5a9c646d8a7" providerId="ADAL" clId="{350D9B21-D69A-49EF-84B3-835EE077AC17}" dt="2024-08-26T04:46:19.996" v="3" actId="20577"/>
        <pc:sldMkLst>
          <pc:docMk/>
          <pc:sldMk cId="15871163" sldId="257"/>
        </pc:sldMkLst>
        <pc:spChg chg="mod">
          <ac:chgData name="Timur Karimsakov" userId="ea04722c-9be7-49ff-9a17-c5a9c646d8a7" providerId="ADAL" clId="{350D9B21-D69A-49EF-84B3-835EE077AC17}" dt="2024-08-26T04:46:19.996" v="3" actId="20577"/>
          <ac:spMkLst>
            <pc:docMk/>
            <pc:sldMk cId="15871163" sldId="257"/>
            <ac:spMk id="167" creationId="{00000000-0000-0000-0000-000000000000}"/>
          </ac:spMkLst>
        </pc:spChg>
      </pc:sldChg>
      <pc:sldChg chg="addSp delSp modSp mod">
        <pc:chgData name="Timur Karimsakov" userId="ea04722c-9be7-49ff-9a17-c5a9c646d8a7" providerId="ADAL" clId="{350D9B21-D69A-49EF-84B3-835EE077AC17}" dt="2024-08-26T06:28:01.987" v="1322" actId="20577"/>
        <pc:sldMkLst>
          <pc:docMk/>
          <pc:sldMk cId="4078718328" sldId="2184"/>
        </pc:sldMkLst>
        <pc:spChg chg="mod">
          <ac:chgData name="Timur Karimsakov" userId="ea04722c-9be7-49ff-9a17-c5a9c646d8a7" providerId="ADAL" clId="{350D9B21-D69A-49EF-84B3-835EE077AC17}" dt="2024-08-26T06:28:01.987" v="1322" actId="20577"/>
          <ac:spMkLst>
            <pc:docMk/>
            <pc:sldMk cId="4078718328" sldId="2184"/>
            <ac:spMk id="8" creationId="{85697E62-4051-88FC-C94D-84493D08BE8E}"/>
          </ac:spMkLst>
        </pc:spChg>
        <pc:spChg chg="add del">
          <ac:chgData name="Timur Karimsakov" userId="ea04722c-9be7-49ff-9a17-c5a9c646d8a7" providerId="ADAL" clId="{350D9B21-D69A-49EF-84B3-835EE077AC17}" dt="2024-08-26T05:43:47.080" v="294" actId="478"/>
          <ac:spMkLst>
            <pc:docMk/>
            <pc:sldMk cId="4078718328" sldId="2184"/>
            <ac:spMk id="12" creationId="{2C115F45-D6F9-99F0-F363-E7BDC2C1668C}"/>
          </ac:spMkLst>
        </pc:spChg>
        <pc:spChg chg="mod">
          <ac:chgData name="Timur Karimsakov" userId="ea04722c-9be7-49ff-9a17-c5a9c646d8a7" providerId="ADAL" clId="{350D9B21-D69A-49EF-84B3-835EE077AC17}" dt="2024-08-26T05:42:39.164" v="272" actId="20577"/>
          <ac:spMkLst>
            <pc:docMk/>
            <pc:sldMk cId="4078718328" sldId="2184"/>
            <ac:spMk id="14" creationId="{BD5CC2B5-7AC2-AC81-7D04-76E8DBC10147}"/>
          </ac:spMkLst>
        </pc:spChg>
        <pc:spChg chg="mod">
          <ac:chgData name="Timur Karimsakov" userId="ea04722c-9be7-49ff-9a17-c5a9c646d8a7" providerId="ADAL" clId="{350D9B21-D69A-49EF-84B3-835EE077AC17}" dt="2024-08-26T05:44:32.588" v="308" actId="1038"/>
          <ac:spMkLst>
            <pc:docMk/>
            <pc:sldMk cId="4078718328" sldId="2184"/>
            <ac:spMk id="20" creationId="{29DC921E-7651-85A7-ACCE-1013554AA275}"/>
          </ac:spMkLst>
        </pc:spChg>
        <pc:spChg chg="add del">
          <ac:chgData name="Timur Karimsakov" userId="ea04722c-9be7-49ff-9a17-c5a9c646d8a7" providerId="ADAL" clId="{350D9B21-D69A-49EF-84B3-835EE077AC17}" dt="2024-08-26T05:43:47.080" v="294" actId="478"/>
          <ac:spMkLst>
            <pc:docMk/>
            <pc:sldMk cId="4078718328" sldId="2184"/>
            <ac:spMk id="22" creationId="{D842D2A9-4BF3-4D36-17AC-BFBC0BD94545}"/>
          </ac:spMkLst>
        </pc:spChg>
        <pc:spChg chg="mod">
          <ac:chgData name="Timur Karimsakov" userId="ea04722c-9be7-49ff-9a17-c5a9c646d8a7" providerId="ADAL" clId="{350D9B21-D69A-49EF-84B3-835EE077AC17}" dt="2024-08-26T05:44:53.611" v="315" actId="20577"/>
          <ac:spMkLst>
            <pc:docMk/>
            <pc:sldMk cId="4078718328" sldId="2184"/>
            <ac:spMk id="30" creationId="{1EF8A265-7911-B274-2E61-42A4C8C332CC}"/>
          </ac:spMkLst>
        </pc:spChg>
        <pc:spChg chg="mod">
          <ac:chgData name="Timur Karimsakov" userId="ea04722c-9be7-49ff-9a17-c5a9c646d8a7" providerId="ADAL" clId="{350D9B21-D69A-49EF-84B3-835EE077AC17}" dt="2024-08-26T05:44:47.172" v="313" actId="20577"/>
          <ac:spMkLst>
            <pc:docMk/>
            <pc:sldMk cId="4078718328" sldId="2184"/>
            <ac:spMk id="31" creationId="{1B43C88C-97F7-E43F-2336-6CFB022A3A87}"/>
          </ac:spMkLst>
        </pc:spChg>
        <pc:spChg chg="mod">
          <ac:chgData name="Timur Karimsakov" userId="ea04722c-9be7-49ff-9a17-c5a9c646d8a7" providerId="ADAL" clId="{350D9B21-D69A-49EF-84B3-835EE077AC17}" dt="2024-08-26T05:43:46.176" v="293" actId="20577"/>
          <ac:spMkLst>
            <pc:docMk/>
            <pc:sldMk cId="4078718328" sldId="2184"/>
            <ac:spMk id="32" creationId="{80CDB5F4-2CFE-D3CA-E51E-B3873EA86F2A}"/>
          </ac:spMkLst>
        </pc:spChg>
        <pc:spChg chg="mod">
          <ac:chgData name="Timur Karimsakov" userId="ea04722c-9be7-49ff-9a17-c5a9c646d8a7" providerId="ADAL" clId="{350D9B21-D69A-49EF-84B3-835EE077AC17}" dt="2024-08-26T05:43:38.415" v="284"/>
          <ac:spMkLst>
            <pc:docMk/>
            <pc:sldMk cId="4078718328" sldId="2184"/>
            <ac:spMk id="33" creationId="{8E6C25B3-CFAB-EDAF-16CA-F2914FE5BCF7}"/>
          </ac:spMkLst>
        </pc:spChg>
        <pc:spChg chg="mod">
          <ac:chgData name="Timur Karimsakov" userId="ea04722c-9be7-49ff-9a17-c5a9c646d8a7" providerId="ADAL" clId="{350D9B21-D69A-49EF-84B3-835EE077AC17}" dt="2024-08-26T05:43:38.415" v="284"/>
          <ac:spMkLst>
            <pc:docMk/>
            <pc:sldMk cId="4078718328" sldId="2184"/>
            <ac:spMk id="36" creationId="{DF041CA7-D753-F704-4047-DACACCF54D72}"/>
          </ac:spMkLst>
        </pc:spChg>
        <pc:spChg chg="mod">
          <ac:chgData name="Timur Karimsakov" userId="ea04722c-9be7-49ff-9a17-c5a9c646d8a7" providerId="ADAL" clId="{350D9B21-D69A-49EF-84B3-835EE077AC17}" dt="2024-08-26T05:43:38.415" v="284"/>
          <ac:spMkLst>
            <pc:docMk/>
            <pc:sldMk cId="4078718328" sldId="2184"/>
            <ac:spMk id="37" creationId="{837D65F2-0385-2374-3C3E-7B3B45070193}"/>
          </ac:spMkLst>
        </pc:spChg>
        <pc:spChg chg="add mod">
          <ac:chgData name="Timur Karimsakov" userId="ea04722c-9be7-49ff-9a17-c5a9c646d8a7" providerId="ADAL" clId="{350D9B21-D69A-49EF-84B3-835EE077AC17}" dt="2024-08-26T05:43:38.415" v="284"/>
          <ac:spMkLst>
            <pc:docMk/>
            <pc:sldMk cId="4078718328" sldId="2184"/>
            <ac:spMk id="38" creationId="{AC666DAA-AE99-CD5A-822B-0486C4503AC3}"/>
          </ac:spMkLst>
        </pc:spChg>
        <pc:spChg chg="add mod">
          <ac:chgData name="Timur Karimsakov" userId="ea04722c-9be7-49ff-9a17-c5a9c646d8a7" providerId="ADAL" clId="{350D9B21-D69A-49EF-84B3-835EE077AC17}" dt="2024-08-26T05:43:38.415" v="284"/>
          <ac:spMkLst>
            <pc:docMk/>
            <pc:sldMk cId="4078718328" sldId="2184"/>
            <ac:spMk id="39" creationId="{A4CE4471-CA47-6C8D-C39B-73B3FB7AAC77}"/>
          </ac:spMkLst>
        </pc:spChg>
        <pc:grpChg chg="add del">
          <ac:chgData name="Timur Karimsakov" userId="ea04722c-9be7-49ff-9a17-c5a9c646d8a7" providerId="ADAL" clId="{350D9B21-D69A-49EF-84B3-835EE077AC17}" dt="2024-08-26T05:43:47.080" v="294" actId="478"/>
          <ac:grpSpMkLst>
            <pc:docMk/>
            <pc:sldMk cId="4078718328" sldId="2184"/>
            <ac:grpSpMk id="4" creationId="{BC9981C9-E243-7855-8AD5-C5399E3F75DA}"/>
          </ac:grpSpMkLst>
        </pc:grpChg>
        <pc:grpChg chg="add del">
          <ac:chgData name="Timur Karimsakov" userId="ea04722c-9be7-49ff-9a17-c5a9c646d8a7" providerId="ADAL" clId="{350D9B21-D69A-49EF-84B3-835EE077AC17}" dt="2024-08-26T05:43:47.080" v="294" actId="478"/>
          <ac:grpSpMkLst>
            <pc:docMk/>
            <pc:sldMk cId="4078718328" sldId="2184"/>
            <ac:grpSpMk id="9" creationId="{44920623-BECF-E596-9BC7-B073EF9E7624}"/>
          </ac:grpSpMkLst>
        </pc:grpChg>
        <pc:grpChg chg="add mod">
          <ac:chgData name="Timur Karimsakov" userId="ea04722c-9be7-49ff-9a17-c5a9c646d8a7" providerId="ADAL" clId="{350D9B21-D69A-49EF-84B3-835EE077AC17}" dt="2024-08-26T05:43:38.415" v="284"/>
          <ac:grpSpMkLst>
            <pc:docMk/>
            <pc:sldMk cId="4078718328" sldId="2184"/>
            <ac:grpSpMk id="29" creationId="{6C4493C8-9A09-363B-3741-D2F56C6F86F4}"/>
          </ac:grpSpMkLst>
        </pc:grpChg>
        <pc:grpChg chg="add mod">
          <ac:chgData name="Timur Karimsakov" userId="ea04722c-9be7-49ff-9a17-c5a9c646d8a7" providerId="ADAL" clId="{350D9B21-D69A-49EF-84B3-835EE077AC17}" dt="2024-08-26T05:43:38.415" v="284"/>
          <ac:grpSpMkLst>
            <pc:docMk/>
            <pc:sldMk cId="4078718328" sldId="2184"/>
            <ac:grpSpMk id="34" creationId="{F2251032-0EAD-E26A-1485-7B4EB0248BBF}"/>
          </ac:grpSpMkLst>
        </pc:grpChg>
        <pc:graphicFrameChg chg="del">
          <ac:chgData name="Timur Karimsakov" userId="ea04722c-9be7-49ff-9a17-c5a9c646d8a7" providerId="ADAL" clId="{350D9B21-D69A-49EF-84B3-835EE077AC17}" dt="2024-08-26T05:43:32.983" v="282" actId="478"/>
          <ac:graphicFrameMkLst>
            <pc:docMk/>
            <pc:sldMk cId="4078718328" sldId="2184"/>
            <ac:graphicFrameMk id="3" creationId="{049EC587-A492-DBED-1D37-E38BA108ADA6}"/>
          </ac:graphicFrameMkLst>
        </pc:graphicFrameChg>
        <pc:graphicFrameChg chg="del">
          <ac:chgData name="Timur Karimsakov" userId="ea04722c-9be7-49ff-9a17-c5a9c646d8a7" providerId="ADAL" clId="{350D9B21-D69A-49EF-84B3-835EE077AC17}" dt="2024-08-26T05:43:30.443" v="281" actId="478"/>
          <ac:graphicFrameMkLst>
            <pc:docMk/>
            <pc:sldMk cId="4078718328" sldId="2184"/>
            <ac:graphicFrameMk id="16" creationId="{D23AC371-0E6F-0173-AD6F-C9F0188898AF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43:38.415" v="284"/>
          <ac:graphicFrameMkLst>
            <pc:docMk/>
            <pc:sldMk cId="4078718328" sldId="2184"/>
            <ac:graphicFrameMk id="27" creationId="{04EB0604-5600-60D0-5989-06231092325F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43:38.415" v="284"/>
          <ac:graphicFrameMkLst>
            <pc:docMk/>
            <pc:sldMk cId="4078718328" sldId="2184"/>
            <ac:graphicFrameMk id="28" creationId="{AABF3981-6192-35FB-B215-E487F692750E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44:02.135" v="295"/>
          <ac:graphicFrameMkLst>
            <pc:docMk/>
            <pc:sldMk cId="4078718328" sldId="2184"/>
            <ac:graphicFrameMk id="40" creationId="{75CCC291-0861-2F3A-A8F8-27EBF633A1D5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44:02.135" v="295"/>
          <ac:graphicFrameMkLst>
            <pc:docMk/>
            <pc:sldMk cId="4078718328" sldId="2184"/>
            <ac:graphicFrameMk id="42" creationId="{80BBF4C8-60AA-4BC8-5F0A-465832365B97}"/>
          </ac:graphicFrameMkLst>
        </pc:graphicFrameChg>
        <pc:cxnChg chg="add del">
          <ac:chgData name="Timur Karimsakov" userId="ea04722c-9be7-49ff-9a17-c5a9c646d8a7" providerId="ADAL" clId="{350D9B21-D69A-49EF-84B3-835EE077AC17}" dt="2024-08-26T05:43:47.080" v="294" actId="478"/>
          <ac:cxnSpMkLst>
            <pc:docMk/>
            <pc:sldMk cId="4078718328" sldId="2184"/>
            <ac:cxnSpMk id="13" creationId="{9FECC982-D4BC-F116-903F-2F1EB8AD3F6E}"/>
          </ac:cxnSpMkLst>
        </pc:cxnChg>
      </pc:sldChg>
      <pc:sldChg chg="modSp mod">
        <pc:chgData name="Timur Karimsakov" userId="ea04722c-9be7-49ff-9a17-c5a9c646d8a7" providerId="ADAL" clId="{350D9B21-D69A-49EF-84B3-835EE077AC17}" dt="2024-08-26T05:56:05.714" v="753" actId="1035"/>
        <pc:sldMkLst>
          <pc:docMk/>
          <pc:sldMk cId="2298565077" sldId="2186"/>
        </pc:sldMkLst>
        <pc:spChg chg="mod">
          <ac:chgData name="Timur Karimsakov" userId="ea04722c-9be7-49ff-9a17-c5a9c646d8a7" providerId="ADAL" clId="{350D9B21-D69A-49EF-84B3-835EE077AC17}" dt="2024-08-26T05:56:05.714" v="753" actId="1035"/>
          <ac:spMkLst>
            <pc:docMk/>
            <pc:sldMk cId="2298565077" sldId="2186"/>
            <ac:spMk id="3" creationId="{8C3A6160-9C69-6208-E6C0-CB81E01F8512}"/>
          </ac:spMkLst>
        </pc:spChg>
        <pc:spChg chg="mod">
          <ac:chgData name="Timur Karimsakov" userId="ea04722c-9be7-49ff-9a17-c5a9c646d8a7" providerId="ADAL" clId="{350D9B21-D69A-49EF-84B3-835EE077AC17}" dt="2024-08-26T05:55:40.859" v="723" actId="20577"/>
          <ac:spMkLst>
            <pc:docMk/>
            <pc:sldMk cId="2298565077" sldId="2186"/>
            <ac:spMk id="6" creationId="{90BE8CD8-94C1-7202-0DBE-3853E3A66AD5}"/>
          </ac:spMkLst>
        </pc:spChg>
        <pc:spChg chg="mod">
          <ac:chgData name="Timur Karimsakov" userId="ea04722c-9be7-49ff-9a17-c5a9c646d8a7" providerId="ADAL" clId="{350D9B21-D69A-49EF-84B3-835EE077AC17}" dt="2024-08-26T05:55:20.593" v="713" actId="20577"/>
          <ac:spMkLst>
            <pc:docMk/>
            <pc:sldMk cId="2298565077" sldId="2186"/>
            <ac:spMk id="8" creationId="{85697E62-4051-88FC-C94D-84493D08BE8E}"/>
          </ac:spMkLst>
        </pc:spChg>
        <pc:spChg chg="mod">
          <ac:chgData name="Timur Karimsakov" userId="ea04722c-9be7-49ff-9a17-c5a9c646d8a7" providerId="ADAL" clId="{350D9B21-D69A-49EF-84B3-835EE077AC17}" dt="2024-08-26T05:55:46.628" v="732" actId="20577"/>
          <ac:spMkLst>
            <pc:docMk/>
            <pc:sldMk cId="2298565077" sldId="2186"/>
            <ac:spMk id="9" creationId="{FB0CAE96-5F9C-ACCC-9EFD-BFC6551FC96D}"/>
          </ac:spMkLst>
        </pc:spChg>
      </pc:sldChg>
      <pc:sldChg chg="addSp delSp modSp mod">
        <pc:chgData name="Timur Karimsakov" userId="ea04722c-9be7-49ff-9a17-c5a9c646d8a7" providerId="ADAL" clId="{350D9B21-D69A-49EF-84B3-835EE077AC17}" dt="2024-08-26T06:28:33.025" v="1323" actId="21"/>
        <pc:sldMkLst>
          <pc:docMk/>
          <pc:sldMk cId="1727869833" sldId="2187"/>
        </pc:sldMkLst>
        <pc:spChg chg="mod">
          <ac:chgData name="Timur Karimsakov" userId="ea04722c-9be7-49ff-9a17-c5a9c646d8a7" providerId="ADAL" clId="{350D9B21-D69A-49EF-84B3-835EE077AC17}" dt="2024-08-26T05:50:33.360" v="509" actId="20577"/>
          <ac:spMkLst>
            <pc:docMk/>
            <pc:sldMk cId="1727869833" sldId="2187"/>
            <ac:spMk id="2" creationId="{D2EB8B81-C04E-5CE2-991B-CB535D56FB5D}"/>
          </ac:spMkLst>
        </pc:spChg>
        <pc:spChg chg="mod">
          <ac:chgData name="Timur Karimsakov" userId="ea04722c-9be7-49ff-9a17-c5a9c646d8a7" providerId="ADAL" clId="{350D9B21-D69A-49EF-84B3-835EE077AC17}" dt="2024-08-26T05:50:37.405" v="514" actId="20577"/>
          <ac:spMkLst>
            <pc:docMk/>
            <pc:sldMk cId="1727869833" sldId="2187"/>
            <ac:spMk id="4" creationId="{86B1E4AA-5F41-B421-DFB8-2E354C845695}"/>
          </ac:spMkLst>
        </pc:spChg>
        <pc:spChg chg="mod">
          <ac:chgData name="Timur Karimsakov" userId="ea04722c-9be7-49ff-9a17-c5a9c646d8a7" providerId="ADAL" clId="{350D9B21-D69A-49EF-84B3-835EE077AC17}" dt="2024-08-26T06:28:33.025" v="1323" actId="21"/>
          <ac:spMkLst>
            <pc:docMk/>
            <pc:sldMk cId="1727869833" sldId="2187"/>
            <ac:spMk id="8" creationId="{85697E62-4051-88FC-C94D-84493D08BE8E}"/>
          </ac:spMkLst>
        </pc:spChg>
        <pc:spChg chg="mod">
          <ac:chgData name="Timur Karimsakov" userId="ea04722c-9be7-49ff-9a17-c5a9c646d8a7" providerId="ADAL" clId="{350D9B21-D69A-49EF-84B3-835EE077AC17}" dt="2024-08-26T05:53:09.511" v="600" actId="1036"/>
          <ac:spMkLst>
            <pc:docMk/>
            <pc:sldMk cId="1727869833" sldId="2187"/>
            <ac:spMk id="26" creationId="{90031277-3AC6-34C5-B260-651E444DBD71}"/>
          </ac:spMkLst>
        </pc:spChg>
        <pc:spChg chg="mod">
          <ac:chgData name="Timur Karimsakov" userId="ea04722c-9be7-49ff-9a17-c5a9c646d8a7" providerId="ADAL" clId="{350D9B21-D69A-49EF-84B3-835EE077AC17}" dt="2024-08-26T05:51:54.685" v="532" actId="20577"/>
          <ac:spMkLst>
            <pc:docMk/>
            <pc:sldMk cId="1727869833" sldId="2187"/>
            <ac:spMk id="30" creationId="{1EF8A265-7911-B274-2E61-42A4C8C332CC}"/>
          </ac:spMkLst>
        </pc:spChg>
        <pc:spChg chg="mod">
          <ac:chgData name="Timur Karimsakov" userId="ea04722c-9be7-49ff-9a17-c5a9c646d8a7" providerId="ADAL" clId="{350D9B21-D69A-49EF-84B3-835EE077AC17}" dt="2024-08-26T05:52:34.298" v="583" actId="20577"/>
          <ac:spMkLst>
            <pc:docMk/>
            <pc:sldMk cId="1727869833" sldId="2187"/>
            <ac:spMk id="31" creationId="{1B43C88C-97F7-E43F-2336-6CFB022A3A87}"/>
          </ac:spMkLst>
        </pc:spChg>
        <pc:graphicFrameChg chg="del">
          <ac:chgData name="Timur Karimsakov" userId="ea04722c-9be7-49ff-9a17-c5a9c646d8a7" providerId="ADAL" clId="{350D9B21-D69A-49EF-84B3-835EE077AC17}" dt="2024-08-26T05:50:44.996" v="515" actId="478"/>
          <ac:graphicFrameMkLst>
            <pc:docMk/>
            <pc:sldMk cId="1727869833" sldId="2187"/>
            <ac:graphicFrameMk id="5" creationId="{383A9DA2-329F-2063-D839-F9D13F184199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51:41.218" v="526" actId="1035"/>
          <ac:graphicFrameMkLst>
            <pc:docMk/>
            <pc:sldMk cId="1727869833" sldId="2187"/>
            <ac:graphicFrameMk id="10" creationId="{DD0D4B72-8948-4F64-61CD-6BDD5C87A91C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50:45.613" v="516"/>
          <ac:graphicFrameMkLst>
            <pc:docMk/>
            <pc:sldMk cId="1727869833" sldId="2187"/>
            <ac:graphicFrameMk id="13" creationId="{D74FCFA6-CF5E-699E-F310-9A0E9ED74270}"/>
          </ac:graphicFrameMkLst>
        </pc:graphicFrameChg>
        <pc:graphicFrameChg chg="del">
          <ac:chgData name="Timur Karimsakov" userId="ea04722c-9be7-49ff-9a17-c5a9c646d8a7" providerId="ADAL" clId="{350D9B21-D69A-49EF-84B3-835EE077AC17}" dt="2024-08-26T05:50:44.996" v="515" actId="478"/>
          <ac:graphicFrameMkLst>
            <pc:docMk/>
            <pc:sldMk cId="1727869833" sldId="2187"/>
            <ac:graphicFrameMk id="29" creationId="{D9BBE670-3254-E54E-BA91-C0E513E73E15}"/>
          </ac:graphicFrameMkLst>
        </pc:graphicFrameChg>
        <pc:graphicFrameChg chg="mod">
          <ac:chgData name="Timur Karimsakov" userId="ea04722c-9be7-49ff-9a17-c5a9c646d8a7" providerId="ADAL" clId="{350D9B21-D69A-49EF-84B3-835EE077AC17}" dt="2024-08-26T05:51:58.819" v="534" actId="1076"/>
          <ac:graphicFrameMkLst>
            <pc:docMk/>
            <pc:sldMk cId="1727869833" sldId="2187"/>
            <ac:graphicFrameMk id="41" creationId="{BA702ED6-5EC1-1D8B-8587-A5C8A893CC3D}"/>
          </ac:graphicFrameMkLst>
        </pc:graphicFrameChg>
      </pc:sldChg>
      <pc:sldChg chg="addSp delSp modSp add mod ord">
        <pc:chgData name="Timur Karimsakov" userId="ea04722c-9be7-49ff-9a17-c5a9c646d8a7" providerId="ADAL" clId="{350D9B21-D69A-49EF-84B3-835EE077AC17}" dt="2024-08-26T05:45:23.186" v="323"/>
        <pc:sldMkLst>
          <pc:docMk/>
          <pc:sldMk cId="3240899165" sldId="2212"/>
        </pc:sldMkLst>
        <pc:spChg chg="add mod">
          <ac:chgData name="Timur Karimsakov" userId="ea04722c-9be7-49ff-9a17-c5a9c646d8a7" providerId="ADAL" clId="{350D9B21-D69A-49EF-84B3-835EE077AC17}" dt="2024-08-26T05:45:17.770" v="321"/>
          <ac:spMkLst>
            <pc:docMk/>
            <pc:sldMk cId="3240899165" sldId="2212"/>
            <ac:spMk id="2" creationId="{1362BCF4-B103-655F-77B7-6327C6A0EA4A}"/>
          </ac:spMkLst>
        </pc:spChg>
        <pc:spChg chg="add mod">
          <ac:chgData name="Timur Karimsakov" userId="ea04722c-9be7-49ff-9a17-c5a9c646d8a7" providerId="ADAL" clId="{350D9B21-D69A-49EF-84B3-835EE077AC17}" dt="2024-08-26T05:45:23.186" v="323"/>
          <ac:spMkLst>
            <pc:docMk/>
            <pc:sldMk cId="3240899165" sldId="2212"/>
            <ac:spMk id="3" creationId="{7AA80E6C-F8F2-24E4-859D-5E4A126155BB}"/>
          </ac:spMkLst>
        </pc:spChg>
        <pc:spChg chg="mod">
          <ac:chgData name="Timur Karimsakov" userId="ea04722c-9be7-49ff-9a17-c5a9c646d8a7" providerId="ADAL" clId="{350D9B21-D69A-49EF-84B3-835EE077AC17}" dt="2024-08-26T05:45:11.765" v="319"/>
          <ac:spMkLst>
            <pc:docMk/>
            <pc:sldMk cId="3240899165" sldId="2212"/>
            <ac:spMk id="7" creationId="{9B66BC15-C7C9-BCAE-95C9-423B050F9920}"/>
          </ac:spMkLst>
        </pc:spChg>
        <pc:spChg chg="del">
          <ac:chgData name="Timur Karimsakov" userId="ea04722c-9be7-49ff-9a17-c5a9c646d8a7" providerId="ADAL" clId="{350D9B21-D69A-49EF-84B3-835EE077AC17}" dt="2024-08-26T05:45:22.938" v="322" actId="478"/>
          <ac:spMkLst>
            <pc:docMk/>
            <pc:sldMk cId="3240899165" sldId="2212"/>
            <ac:spMk id="34" creationId="{043A123B-4864-908F-A2B8-F951AAA6439E}"/>
          </ac:spMkLst>
        </pc:spChg>
        <pc:spChg chg="del">
          <ac:chgData name="Timur Karimsakov" userId="ea04722c-9be7-49ff-9a17-c5a9c646d8a7" providerId="ADAL" clId="{350D9B21-D69A-49EF-84B3-835EE077AC17}" dt="2024-08-26T05:45:17.554" v="320" actId="478"/>
          <ac:spMkLst>
            <pc:docMk/>
            <pc:sldMk cId="3240899165" sldId="2212"/>
            <ac:spMk id="37" creationId="{22356F5B-BC1B-07FD-6EF0-F91E21834476}"/>
          </ac:spMkLst>
        </pc:spChg>
      </pc:sldChg>
      <pc:sldChg chg="addSp delSp modSp mod">
        <pc:chgData name="Timur Karimsakov" userId="ea04722c-9be7-49ff-9a17-c5a9c646d8a7" providerId="ADAL" clId="{350D9B21-D69A-49EF-84B3-835EE077AC17}" dt="2024-08-26T06:27:25.824" v="1320" actId="27918"/>
        <pc:sldMkLst>
          <pc:docMk/>
          <pc:sldMk cId="2566058658" sldId="2262"/>
        </pc:sldMkLst>
        <pc:spChg chg="mod">
          <ac:chgData name="Timur Karimsakov" userId="ea04722c-9be7-49ff-9a17-c5a9c646d8a7" providerId="ADAL" clId="{350D9B21-D69A-49EF-84B3-835EE077AC17}" dt="2024-08-26T05:36:36.830" v="105" actId="20577"/>
          <ac:spMkLst>
            <pc:docMk/>
            <pc:sldMk cId="2566058658" sldId="2262"/>
            <ac:spMk id="4" creationId="{6491925A-34D7-E163-369E-DE4B529D8B52}"/>
          </ac:spMkLst>
        </pc:spChg>
        <pc:spChg chg="mod">
          <ac:chgData name="Timur Karimsakov" userId="ea04722c-9be7-49ff-9a17-c5a9c646d8a7" providerId="ADAL" clId="{350D9B21-D69A-49EF-84B3-835EE077AC17}" dt="2024-08-26T05:37:31.282" v="173" actId="1038"/>
          <ac:spMkLst>
            <pc:docMk/>
            <pc:sldMk cId="2566058658" sldId="2262"/>
            <ac:spMk id="5" creationId="{1FEC01A9-B982-EE03-7035-09F79EDE287C}"/>
          </ac:spMkLst>
        </pc:spChg>
        <pc:spChg chg="mod">
          <ac:chgData name="Timur Karimsakov" userId="ea04722c-9be7-49ff-9a17-c5a9c646d8a7" providerId="ADAL" clId="{350D9B21-D69A-49EF-84B3-835EE077AC17}" dt="2024-08-26T05:37:27.768" v="171" actId="1036"/>
          <ac:spMkLst>
            <pc:docMk/>
            <pc:sldMk cId="2566058658" sldId="2262"/>
            <ac:spMk id="6" creationId="{E321BFED-674E-6FE4-4ABA-32A133ED0F26}"/>
          </ac:spMkLst>
        </pc:spChg>
        <pc:spChg chg="add del">
          <ac:chgData name="Timur Karimsakov" userId="ea04722c-9be7-49ff-9a17-c5a9c646d8a7" providerId="ADAL" clId="{350D9B21-D69A-49EF-84B3-835EE077AC17}" dt="2024-08-26T05:38:03.568" v="179" actId="478"/>
          <ac:spMkLst>
            <pc:docMk/>
            <pc:sldMk cId="2566058658" sldId="2262"/>
            <ac:spMk id="8" creationId="{74CEFFF0-A673-A98C-E2A2-7D863DE84E70}"/>
          </ac:spMkLst>
        </pc:spChg>
        <pc:spChg chg="mod">
          <ac:chgData name="Timur Karimsakov" userId="ea04722c-9be7-49ff-9a17-c5a9c646d8a7" providerId="ADAL" clId="{350D9B21-D69A-49EF-84B3-835EE077AC17}" dt="2024-08-26T05:37:24.475" v="169" actId="1037"/>
          <ac:spMkLst>
            <pc:docMk/>
            <pc:sldMk cId="2566058658" sldId="2262"/>
            <ac:spMk id="9" creationId="{D9B84EA8-B855-220B-2BA5-6E20C8555659}"/>
          </ac:spMkLst>
        </pc:spChg>
        <pc:spChg chg="mod">
          <ac:chgData name="Timur Karimsakov" userId="ea04722c-9be7-49ff-9a17-c5a9c646d8a7" providerId="ADAL" clId="{350D9B21-D69A-49EF-84B3-835EE077AC17}" dt="2024-08-26T05:37:19.041" v="153" actId="1036"/>
          <ac:spMkLst>
            <pc:docMk/>
            <pc:sldMk cId="2566058658" sldId="2262"/>
            <ac:spMk id="10" creationId="{CB3EAD57-DE5A-0703-E4CD-BAC797260763}"/>
          </ac:spMkLst>
        </pc:spChg>
        <pc:spChg chg="mod">
          <ac:chgData name="Timur Karimsakov" userId="ea04722c-9be7-49ff-9a17-c5a9c646d8a7" providerId="ADAL" clId="{350D9B21-D69A-49EF-84B3-835EE077AC17}" dt="2024-08-26T05:37:10.890" v="137" actId="1036"/>
          <ac:spMkLst>
            <pc:docMk/>
            <pc:sldMk cId="2566058658" sldId="2262"/>
            <ac:spMk id="11" creationId="{63835E1C-152A-FCA4-3271-106825AA401F}"/>
          </ac:spMkLst>
        </pc:spChg>
        <pc:spChg chg="mod">
          <ac:chgData name="Timur Karimsakov" userId="ea04722c-9be7-49ff-9a17-c5a9c646d8a7" providerId="ADAL" clId="{350D9B21-D69A-49EF-84B3-835EE077AC17}" dt="2024-08-26T05:36:48.636" v="113" actId="20577"/>
          <ac:spMkLst>
            <pc:docMk/>
            <pc:sldMk cId="2566058658" sldId="2262"/>
            <ac:spMk id="13" creationId="{3FE6DF63-78A9-34A0-8492-44236B1F9A59}"/>
          </ac:spMkLst>
        </pc:spChg>
        <pc:spChg chg="mod">
          <ac:chgData name="Timur Karimsakov" userId="ea04722c-9be7-49ff-9a17-c5a9c646d8a7" providerId="ADAL" clId="{350D9B21-D69A-49EF-84B3-835EE077AC17}" dt="2024-08-26T05:42:21.569" v="270" actId="20577"/>
          <ac:spMkLst>
            <pc:docMk/>
            <pc:sldMk cId="2566058658" sldId="2262"/>
            <ac:spMk id="26" creationId="{47D5E6D4-BFD4-AF58-0351-F6F523258D8D}"/>
          </ac:spMkLst>
        </pc:spChg>
        <pc:spChg chg="mod">
          <ac:chgData name="Timur Karimsakov" userId="ea04722c-9be7-49ff-9a17-c5a9c646d8a7" providerId="ADAL" clId="{350D9B21-D69A-49EF-84B3-835EE077AC17}" dt="2024-08-26T05:37:47.509" v="177" actId="20577"/>
          <ac:spMkLst>
            <pc:docMk/>
            <pc:sldMk cId="2566058658" sldId="2262"/>
            <ac:spMk id="27" creationId="{6B3D17CA-F792-DC19-AF9F-1B3065878F5C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29" creationId="{50AE4A15-9F57-44AA-899F-EB3CD86D6E59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30" creationId="{1D331076-3D9C-589E-9C92-D37CFBF5E86F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31" creationId="{31A5032B-A80E-2652-04BE-A7D3E6D4EC3C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32" creationId="{23DA79C4-C5AA-CB8D-3B59-D6CA95CA6679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35" creationId="{0268E12B-EE54-CB5F-0393-744D19CE183A}"/>
          </ac:spMkLst>
        </pc:spChg>
        <pc:spChg chg="add del">
          <ac:chgData name="Timur Karimsakov" userId="ea04722c-9be7-49ff-9a17-c5a9c646d8a7" providerId="ADAL" clId="{350D9B21-D69A-49EF-84B3-835EE077AC17}" dt="2024-08-26T05:39:03.960" v="190" actId="478"/>
          <ac:spMkLst>
            <pc:docMk/>
            <pc:sldMk cId="2566058658" sldId="2262"/>
            <ac:spMk id="36" creationId="{EE455E28-7A5A-4B1D-C904-28566AA84EE5}"/>
          </ac:spMkLst>
        </pc:spChg>
        <pc:spChg chg="mod">
          <ac:chgData name="Timur Karimsakov" userId="ea04722c-9be7-49ff-9a17-c5a9c646d8a7" providerId="ADAL" clId="{350D9B21-D69A-49EF-84B3-835EE077AC17}" dt="2024-08-26T05:37:14.053" v="143" actId="1036"/>
          <ac:spMkLst>
            <pc:docMk/>
            <pc:sldMk cId="2566058658" sldId="2262"/>
            <ac:spMk id="43" creationId="{76E9DA9A-37A9-3B40-F43F-1AE01A891458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46" creationId="{0684561A-DF41-FA61-AAF1-AD9B53728208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47" creationId="{B85B6FA5-3308-63EF-0AFF-372912E1B191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48" creationId="{FF158050-CF5E-7011-9D95-6E3FA69C48A7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49" creationId="{4009080B-B872-0BA3-F914-47E378B52570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50" creationId="{7CE22089-8995-61EA-510F-140B8BE79AB8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51" creationId="{3D60872E-8960-03F8-5ABA-D2C74261F8DA}"/>
          </ac:spMkLst>
        </pc:spChg>
        <pc:spChg chg="mod">
          <ac:chgData name="Timur Karimsakov" userId="ea04722c-9be7-49ff-9a17-c5a9c646d8a7" providerId="ADAL" clId="{350D9B21-D69A-49EF-84B3-835EE077AC17}" dt="2024-08-26T05:39:03.158" v="189"/>
          <ac:spMkLst>
            <pc:docMk/>
            <pc:sldMk cId="2566058658" sldId="2262"/>
            <ac:spMk id="56" creationId="{F7B2A1F5-887A-B13F-E658-C7942DBEF935}"/>
          </ac:spMkLst>
        </pc:spChg>
        <pc:spChg chg="add mod">
          <ac:chgData name="Timur Karimsakov" userId="ea04722c-9be7-49ff-9a17-c5a9c646d8a7" providerId="ADAL" clId="{350D9B21-D69A-49EF-84B3-835EE077AC17}" dt="2024-08-26T05:38:49.490" v="187"/>
          <ac:spMkLst>
            <pc:docMk/>
            <pc:sldMk cId="2566058658" sldId="2262"/>
            <ac:spMk id="60" creationId="{E8FA4EE9-A8B8-5D84-0C3E-7A1D32F5F549}"/>
          </ac:spMkLst>
        </pc:spChg>
        <pc:spChg chg="add del mod">
          <ac:chgData name="Timur Karimsakov" userId="ea04722c-9be7-49ff-9a17-c5a9c646d8a7" providerId="ADAL" clId="{350D9B21-D69A-49EF-84B3-835EE077AC17}" dt="2024-08-26T05:40:05.653" v="197" actId="20577"/>
          <ac:spMkLst>
            <pc:docMk/>
            <pc:sldMk cId="2566058658" sldId="2262"/>
            <ac:spMk id="69" creationId="{B877ECC2-2520-FEDB-518D-37474CC4E7F2}"/>
          </ac:spMkLst>
        </pc:spChg>
        <pc:grpChg chg="add del">
          <ac:chgData name="Timur Karimsakov" userId="ea04722c-9be7-49ff-9a17-c5a9c646d8a7" providerId="ADAL" clId="{350D9B21-D69A-49EF-84B3-835EE077AC17}" dt="2024-08-26T05:39:03.960" v="190" actId="478"/>
          <ac:grpSpMkLst>
            <pc:docMk/>
            <pc:sldMk cId="2566058658" sldId="2262"/>
            <ac:grpSpMk id="15" creationId="{DEC1D539-6BB9-3BF1-2B91-C6D8C26B8A7F}"/>
          </ac:grpSpMkLst>
        </pc:grpChg>
        <pc:grpChg chg="add del">
          <ac:chgData name="Timur Karimsakov" userId="ea04722c-9be7-49ff-9a17-c5a9c646d8a7" providerId="ADAL" clId="{350D9B21-D69A-49EF-84B3-835EE077AC17}" dt="2024-08-26T05:39:03.960" v="190" actId="478"/>
          <ac:grpSpMkLst>
            <pc:docMk/>
            <pc:sldMk cId="2566058658" sldId="2262"/>
            <ac:grpSpMk id="18" creationId="{619DF5DF-79B7-37AB-C126-5251B1B1B4EA}"/>
          </ac:grpSpMkLst>
        </pc:grpChg>
        <pc:grpChg chg="add del">
          <ac:chgData name="Timur Karimsakov" userId="ea04722c-9be7-49ff-9a17-c5a9c646d8a7" providerId="ADAL" clId="{350D9B21-D69A-49EF-84B3-835EE077AC17}" dt="2024-08-26T05:39:03.960" v="190" actId="478"/>
          <ac:grpSpMkLst>
            <pc:docMk/>
            <pc:sldMk cId="2566058658" sldId="2262"/>
            <ac:grpSpMk id="21" creationId="{0A26A47C-857E-2060-051E-F99D31D3AD18}"/>
          </ac:grpSpMkLst>
        </pc:grpChg>
        <pc:graphicFrameChg chg="add del">
          <ac:chgData name="Timur Karimsakov" userId="ea04722c-9be7-49ff-9a17-c5a9c646d8a7" providerId="ADAL" clId="{350D9B21-D69A-49EF-84B3-835EE077AC17}" dt="2024-08-26T05:38:20.348" v="184" actId="478"/>
          <ac:graphicFrameMkLst>
            <pc:docMk/>
            <pc:sldMk cId="2566058658" sldId="2262"/>
            <ac:graphicFrameMk id="12" creationId="{2DA72732-17FB-F09E-5A5E-B7357EB7EF6E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38:10.595" v="181"/>
          <ac:graphicFrameMkLst>
            <pc:docMk/>
            <pc:sldMk cId="2566058658" sldId="2262"/>
            <ac:graphicFrameMk id="25" creationId="{EED69B3B-7330-D755-9109-1A60D63BA7A7}"/>
          </ac:graphicFrameMkLst>
        </pc:graphicFrameChg>
        <pc:graphicFrameChg chg="add del mod">
          <ac:chgData name="Timur Karimsakov" userId="ea04722c-9be7-49ff-9a17-c5a9c646d8a7" providerId="ADAL" clId="{350D9B21-D69A-49EF-84B3-835EE077AC17}" dt="2024-08-26T05:38:42.966" v="185" actId="478"/>
          <ac:graphicFrameMkLst>
            <pc:docMk/>
            <pc:sldMk cId="2566058658" sldId="2262"/>
            <ac:graphicFrameMk id="28" creationId="{782BD273-2540-4275-96A2-45DED6BE87DF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38:49.490" v="187"/>
          <ac:graphicFrameMkLst>
            <pc:docMk/>
            <pc:sldMk cId="2566058658" sldId="2262"/>
            <ac:graphicFrameMk id="45" creationId="{28199BA6-796E-28A2-F90A-F0C64F2C8DB0}"/>
          </ac:graphicFrameMkLst>
        </pc:graphicFrameChg>
        <pc:graphicFrameChg chg="add mod">
          <ac:chgData name="Timur Karimsakov" userId="ea04722c-9be7-49ff-9a17-c5a9c646d8a7" providerId="ADAL" clId="{350D9B21-D69A-49EF-84B3-835EE077AC17}" dt="2024-08-26T05:40:02.591" v="193" actId="167"/>
          <ac:graphicFrameMkLst>
            <pc:docMk/>
            <pc:sldMk cId="2566058658" sldId="2262"/>
            <ac:graphicFrameMk id="61" creationId="{28A646F5-9DF3-48F3-2B3B-E21CF8402E0B}"/>
          </ac:graphicFrameMkLst>
        </pc:graphicFrame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37" creationId="{CDDA746B-5AE8-FB5D-FF63-F1AA6F1DF346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38" creationId="{70B18888-9B4F-FC5D-64D1-E8837E49B913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39" creationId="{FDCE8C00-89C1-C6FC-BFCC-31D729F7D731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40" creationId="{6A7C9D59-41CD-95D3-91E8-E2D8BB309606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41" creationId="{0CA52670-7BA9-E7CD-E28C-EFF81BCA6717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42" creationId="{39BD2136-7ABC-2A0B-5E7E-C3EEBBECCA16}"/>
          </ac:cxnSpMkLst>
        </pc:cxnChg>
        <pc:cxnChg chg="add del">
          <ac:chgData name="Timur Karimsakov" userId="ea04722c-9be7-49ff-9a17-c5a9c646d8a7" providerId="ADAL" clId="{350D9B21-D69A-49EF-84B3-835EE077AC17}" dt="2024-08-26T05:39:22.542" v="191" actId="478"/>
          <ac:cxnSpMkLst>
            <pc:docMk/>
            <pc:sldMk cId="2566058658" sldId="2262"/>
            <ac:cxnSpMk id="44" creationId="{BB1D7077-FD00-40C2-1865-C1D0ABD4C5F6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2" creationId="{B5DCECF8-D764-9F7D-2FF1-59C6383F4877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3" creationId="{6C8D3B95-E53D-C97D-C0FF-44A479855ACC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4" creationId="{59F524FB-D674-E916-48B3-5C6BD6EAFFB9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5" creationId="{4FF53442-3660-F2F2-47A8-D504B3516825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7" creationId="{3F91CB80-F4EA-8B09-5A73-CB2AFE3E69F5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8" creationId="{4B23D808-D77C-1483-44FC-9282FFAE640C}"/>
          </ac:cxnSpMkLst>
        </pc:cxnChg>
        <pc:cxnChg chg="add mod">
          <ac:chgData name="Timur Karimsakov" userId="ea04722c-9be7-49ff-9a17-c5a9c646d8a7" providerId="ADAL" clId="{350D9B21-D69A-49EF-84B3-835EE077AC17}" dt="2024-08-26T05:38:49.490" v="187"/>
          <ac:cxnSpMkLst>
            <pc:docMk/>
            <pc:sldMk cId="2566058658" sldId="2262"/>
            <ac:cxnSpMk id="59" creationId="{86C0418C-D400-BF6E-39E4-31A84ACC3027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2" creationId="{73D80533-8684-C12F-49EB-0E436C8BC69E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3" creationId="{A965EB8D-C9A3-ADB2-1399-830864E3E61E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4" creationId="{3AE10DD8-EE46-74B2-6522-410743C5C22A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5" creationId="{05AAA370-0AEA-1A1F-0C23-0C15D1C1FD9F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6" creationId="{88CC2AC5-C9CD-8D32-5E6D-152230D066B4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7" creationId="{F7AB982A-24BD-0892-615F-E631223617A5}"/>
          </ac:cxnSpMkLst>
        </pc:cxnChg>
        <pc:cxnChg chg="add mod">
          <ac:chgData name="Timur Karimsakov" userId="ea04722c-9be7-49ff-9a17-c5a9c646d8a7" providerId="ADAL" clId="{350D9B21-D69A-49EF-84B3-835EE077AC17}" dt="2024-08-26T05:39:51.498" v="192"/>
          <ac:cxnSpMkLst>
            <pc:docMk/>
            <pc:sldMk cId="2566058658" sldId="2262"/>
            <ac:cxnSpMk id="68" creationId="{72421A60-593D-91E7-4F0D-13996CD159E2}"/>
          </ac:cxnSpMkLst>
        </pc:cxnChg>
      </pc:sldChg>
      <pc:sldChg chg="addSp delSp modSp mod">
        <pc:chgData name="Timur Karimsakov" userId="ea04722c-9be7-49ff-9a17-c5a9c646d8a7" providerId="ADAL" clId="{350D9B21-D69A-49EF-84B3-835EE077AC17}" dt="2024-08-26T06:21:50.684" v="1307" actId="20577"/>
        <pc:sldMkLst>
          <pc:docMk/>
          <pc:sldMk cId="781584985" sldId="2266"/>
        </pc:sldMkLst>
        <pc:spChg chg="mod">
          <ac:chgData name="Timur Karimsakov" userId="ea04722c-9be7-49ff-9a17-c5a9c646d8a7" providerId="ADAL" clId="{350D9B21-D69A-49EF-84B3-835EE077AC17}" dt="2024-08-26T06:16:14.244" v="998" actId="20577"/>
          <ac:spMkLst>
            <pc:docMk/>
            <pc:sldMk cId="781584985" sldId="2266"/>
            <ac:spMk id="2" creationId="{BD2CB8FC-6BA7-8072-C621-DF5C7DA19DDD}"/>
          </ac:spMkLst>
        </pc:spChg>
        <pc:spChg chg="mod">
          <ac:chgData name="Timur Karimsakov" userId="ea04722c-9be7-49ff-9a17-c5a9c646d8a7" providerId="ADAL" clId="{350D9B21-D69A-49EF-84B3-835EE077AC17}" dt="2024-08-26T06:16:33.688" v="1004" actId="20577"/>
          <ac:spMkLst>
            <pc:docMk/>
            <pc:sldMk cId="781584985" sldId="2266"/>
            <ac:spMk id="3" creationId="{E662F5FB-6268-A082-5539-E6DDA10ED133}"/>
          </ac:spMkLst>
        </pc:spChg>
        <pc:spChg chg="mod">
          <ac:chgData name="Timur Karimsakov" userId="ea04722c-9be7-49ff-9a17-c5a9c646d8a7" providerId="ADAL" clId="{350D9B21-D69A-49EF-84B3-835EE077AC17}" dt="2024-08-26T06:16:30.639" v="1002" actId="20577"/>
          <ac:spMkLst>
            <pc:docMk/>
            <pc:sldMk cId="781584985" sldId="2266"/>
            <ac:spMk id="5" creationId="{999BDFEB-A206-85C4-0B59-16FA7C6E0FFE}"/>
          </ac:spMkLst>
        </pc:spChg>
        <pc:spChg chg="mod">
          <ac:chgData name="Timur Karimsakov" userId="ea04722c-9be7-49ff-9a17-c5a9c646d8a7" providerId="ADAL" clId="{350D9B21-D69A-49EF-84B3-835EE077AC17}" dt="2024-08-26T06:20:14.114" v="1117" actId="20577"/>
          <ac:spMkLst>
            <pc:docMk/>
            <pc:sldMk cId="781584985" sldId="2266"/>
            <ac:spMk id="7" creationId="{3D323966-1370-FDC3-37A2-99C21E85F713}"/>
          </ac:spMkLst>
        </pc:spChg>
        <pc:spChg chg="mod">
          <ac:chgData name="Timur Karimsakov" userId="ea04722c-9be7-49ff-9a17-c5a9c646d8a7" providerId="ADAL" clId="{350D9B21-D69A-49EF-84B3-835EE077AC17}" dt="2024-08-26T06:17:00.238" v="1029"/>
          <ac:spMkLst>
            <pc:docMk/>
            <pc:sldMk cId="781584985" sldId="2266"/>
            <ac:spMk id="11" creationId="{B6C57508-C52E-3266-815E-55AE51AD1546}"/>
          </ac:spMkLst>
        </pc:spChg>
        <pc:spChg chg="del">
          <ac:chgData name="Timur Karimsakov" userId="ea04722c-9be7-49ff-9a17-c5a9c646d8a7" providerId="ADAL" clId="{350D9B21-D69A-49EF-84B3-835EE077AC17}" dt="2024-08-26T06:20:33.513" v="1130" actId="478"/>
          <ac:spMkLst>
            <pc:docMk/>
            <pc:sldMk cId="781584985" sldId="2266"/>
            <ac:spMk id="19" creationId="{D8DAC98A-FF6B-71D8-C8C9-A82EE6DA8734}"/>
          </ac:spMkLst>
        </pc:spChg>
        <pc:spChg chg="mod">
          <ac:chgData name="Timur Karimsakov" userId="ea04722c-9be7-49ff-9a17-c5a9c646d8a7" providerId="ADAL" clId="{350D9B21-D69A-49EF-84B3-835EE077AC17}" dt="2024-08-26T06:20:19.167" v="1126" actId="20577"/>
          <ac:spMkLst>
            <pc:docMk/>
            <pc:sldMk cId="781584985" sldId="2266"/>
            <ac:spMk id="21" creationId="{6596C313-F637-3C24-18F6-D87DC8097557}"/>
          </ac:spMkLst>
        </pc:spChg>
        <pc:spChg chg="mod">
          <ac:chgData name="Timur Karimsakov" userId="ea04722c-9be7-49ff-9a17-c5a9c646d8a7" providerId="ADAL" clId="{350D9B21-D69A-49EF-84B3-835EE077AC17}" dt="2024-08-26T06:20:23.499" v="1129" actId="20577"/>
          <ac:spMkLst>
            <pc:docMk/>
            <pc:sldMk cId="781584985" sldId="2266"/>
            <ac:spMk id="22" creationId="{3BBE6039-D1DC-441E-E6E9-8536AE76BA29}"/>
          </ac:spMkLst>
        </pc:spChg>
        <pc:spChg chg="add mod">
          <ac:chgData name="Timur Karimsakov" userId="ea04722c-9be7-49ff-9a17-c5a9c646d8a7" providerId="ADAL" clId="{350D9B21-D69A-49EF-84B3-835EE077AC17}" dt="2024-08-26T06:21:21.890" v="1260" actId="1036"/>
          <ac:spMkLst>
            <pc:docMk/>
            <pc:sldMk cId="781584985" sldId="2266"/>
            <ac:spMk id="23" creationId="{33C9F3FE-DF0E-FC64-1B9F-C57CA83CA4F1}"/>
          </ac:spMkLst>
        </pc:spChg>
        <pc:spChg chg="add mod">
          <ac:chgData name="Timur Karimsakov" userId="ea04722c-9be7-49ff-9a17-c5a9c646d8a7" providerId="ADAL" clId="{350D9B21-D69A-49EF-84B3-835EE077AC17}" dt="2024-08-26T06:21:50.684" v="1307" actId="20577"/>
          <ac:spMkLst>
            <pc:docMk/>
            <pc:sldMk cId="781584985" sldId="2266"/>
            <ac:spMk id="24" creationId="{A40045B1-E350-EA6C-2AFE-6A013E5BAD63}"/>
          </ac:spMkLst>
        </pc:spChg>
      </pc:sldChg>
      <pc:sldChg chg="modSp mod">
        <pc:chgData name="Timur Karimsakov" userId="ea04722c-9be7-49ff-9a17-c5a9c646d8a7" providerId="ADAL" clId="{350D9B21-D69A-49EF-84B3-835EE077AC17}" dt="2024-08-26T04:54:12.944" v="66" actId="20577"/>
        <pc:sldMkLst>
          <pc:docMk/>
          <pc:sldMk cId="2234924895" sldId="2267"/>
        </pc:sldMkLst>
        <pc:spChg chg="mod">
          <ac:chgData name="Timur Karimsakov" userId="ea04722c-9be7-49ff-9a17-c5a9c646d8a7" providerId="ADAL" clId="{350D9B21-D69A-49EF-84B3-835EE077AC17}" dt="2024-08-26T04:46:34.335" v="6" actId="20577"/>
          <ac:spMkLst>
            <pc:docMk/>
            <pc:sldMk cId="2234924895" sldId="2267"/>
            <ac:spMk id="4" creationId="{D9A7DC92-E6E0-F85D-D643-D022689C0378}"/>
          </ac:spMkLst>
        </pc:spChg>
        <pc:spChg chg="mod">
          <ac:chgData name="Timur Karimsakov" userId="ea04722c-9be7-49ff-9a17-c5a9c646d8a7" providerId="ADAL" clId="{350D9B21-D69A-49EF-84B3-835EE077AC17}" dt="2024-08-26T04:53:34.526" v="42" actId="1035"/>
          <ac:spMkLst>
            <pc:docMk/>
            <pc:sldMk cId="2234924895" sldId="2267"/>
            <ac:spMk id="5" creationId="{B2FD64AC-5415-C72A-A1E8-44F5EDF29AEC}"/>
          </ac:spMkLst>
        </pc:spChg>
        <pc:spChg chg="mod">
          <ac:chgData name="Timur Karimsakov" userId="ea04722c-9be7-49ff-9a17-c5a9c646d8a7" providerId="ADAL" clId="{350D9B21-D69A-49EF-84B3-835EE077AC17}" dt="2024-08-26T04:46:42.824" v="14" actId="20577"/>
          <ac:spMkLst>
            <pc:docMk/>
            <pc:sldMk cId="2234924895" sldId="2267"/>
            <ac:spMk id="13" creationId="{4B231C19-6581-F296-4C38-7C9083947714}"/>
          </ac:spMkLst>
        </pc:spChg>
        <pc:spChg chg="mod">
          <ac:chgData name="Timur Karimsakov" userId="ea04722c-9be7-49ff-9a17-c5a9c646d8a7" providerId="ADAL" clId="{350D9B21-D69A-49EF-84B3-835EE077AC17}" dt="2024-08-26T04:53:42.602" v="47" actId="20577"/>
          <ac:spMkLst>
            <pc:docMk/>
            <pc:sldMk cId="2234924895" sldId="2267"/>
            <ac:spMk id="36" creationId="{03560DEE-38F3-4857-D339-93070E0C0A9F}"/>
          </ac:spMkLst>
        </pc:spChg>
        <pc:spChg chg="mod">
          <ac:chgData name="Timur Karimsakov" userId="ea04722c-9be7-49ff-9a17-c5a9c646d8a7" providerId="ADAL" clId="{350D9B21-D69A-49EF-84B3-835EE077AC17}" dt="2024-08-26T04:54:12.944" v="66" actId="20577"/>
          <ac:spMkLst>
            <pc:docMk/>
            <pc:sldMk cId="2234924895" sldId="2267"/>
            <ac:spMk id="68" creationId="{2ECA0113-5FE2-F5DA-CE28-D2A789698078}"/>
          </ac:spMkLst>
        </pc:spChg>
      </pc:sldChg>
      <pc:sldChg chg="del">
        <pc:chgData name="Timur Karimsakov" userId="ea04722c-9be7-49ff-9a17-c5a9c646d8a7" providerId="ADAL" clId="{350D9B21-D69A-49EF-84B3-835EE077AC17}" dt="2024-08-26T05:45:43.444" v="324" actId="47"/>
        <pc:sldMkLst>
          <pc:docMk/>
          <pc:sldMk cId="2575797221" sldId="2269"/>
        </pc:sldMkLst>
      </pc:sldChg>
      <pc:sldChg chg="add del">
        <pc:chgData name="Timur Karimsakov" userId="ea04722c-9be7-49ff-9a17-c5a9c646d8a7" providerId="ADAL" clId="{350D9B21-D69A-49EF-84B3-835EE077AC17}" dt="2024-08-26T05:03:41.785" v="97" actId="47"/>
        <pc:sldMkLst>
          <pc:docMk/>
          <pc:sldMk cId="3925081326" sldId="2271"/>
        </pc:sldMkLst>
      </pc:sldChg>
      <pc:sldChg chg="addSp delSp modSp add mod ord">
        <pc:chgData name="Timur Karimsakov" userId="ea04722c-9be7-49ff-9a17-c5a9c646d8a7" providerId="ADAL" clId="{350D9B21-D69A-49EF-84B3-835EE077AC17}" dt="2024-08-26T06:22:12.908" v="1317" actId="20577"/>
        <pc:sldMkLst>
          <pc:docMk/>
          <pc:sldMk cId="1261594426" sldId="2272"/>
        </pc:sldMkLst>
        <pc:spChg chg="add mod">
          <ac:chgData name="Timur Karimsakov" userId="ea04722c-9be7-49ff-9a17-c5a9c646d8a7" providerId="ADAL" clId="{350D9B21-D69A-49EF-84B3-835EE077AC17}" dt="2024-08-26T04:55:31.856" v="76"/>
          <ac:spMkLst>
            <pc:docMk/>
            <pc:sldMk cId="1261594426" sldId="2272"/>
            <ac:spMk id="2" creationId="{9E2FBB72-B751-D905-F2B0-A5D002D0A84B}"/>
          </ac:spMkLst>
        </pc:spChg>
        <pc:spChg chg="mod">
          <ac:chgData name="Timur Karimsakov" userId="ea04722c-9be7-49ff-9a17-c5a9c646d8a7" providerId="ADAL" clId="{350D9B21-D69A-49EF-84B3-835EE077AC17}" dt="2024-08-26T05:01:43.626" v="79"/>
          <ac:spMkLst>
            <pc:docMk/>
            <pc:sldMk cId="1261594426" sldId="2272"/>
            <ac:spMk id="4" creationId="{D9A7DC92-E6E0-F85D-D643-D022689C0378}"/>
          </ac:spMkLst>
        </pc:spChg>
        <pc:spChg chg="mod">
          <ac:chgData name="Timur Karimsakov" userId="ea04722c-9be7-49ff-9a17-c5a9c646d8a7" providerId="ADAL" clId="{350D9B21-D69A-49EF-84B3-835EE077AC17}" dt="2024-08-26T05:03:13.027" v="92" actId="20577"/>
          <ac:spMkLst>
            <pc:docMk/>
            <pc:sldMk cId="1261594426" sldId="2272"/>
            <ac:spMk id="8" creationId="{85697E62-4051-88FC-C94D-84493D08BE8E}"/>
          </ac:spMkLst>
        </pc:spChg>
        <pc:spChg chg="del">
          <ac:chgData name="Timur Karimsakov" userId="ea04722c-9be7-49ff-9a17-c5a9c646d8a7" providerId="ADAL" clId="{350D9B21-D69A-49EF-84B3-835EE077AC17}" dt="2024-08-26T04:55:31.598" v="75" actId="478"/>
          <ac:spMkLst>
            <pc:docMk/>
            <pc:sldMk cId="1261594426" sldId="2272"/>
            <ac:spMk id="13" creationId="{16E121D8-50C1-EA26-0515-4BDAA26FD172}"/>
          </ac:spMkLst>
        </pc:spChg>
        <pc:spChg chg="mod">
          <ac:chgData name="Timur Karimsakov" userId="ea04722c-9be7-49ff-9a17-c5a9c646d8a7" providerId="ADAL" clId="{350D9B21-D69A-49EF-84B3-835EE077AC17}" dt="2024-08-26T05:03:03.835" v="88"/>
          <ac:spMkLst>
            <pc:docMk/>
            <pc:sldMk cId="1261594426" sldId="2272"/>
            <ac:spMk id="22" creationId="{2F0FBD74-1BC8-5257-6CF3-9781229D5275}"/>
          </ac:spMkLst>
        </pc:spChg>
        <pc:spChg chg="mod">
          <ac:chgData name="Timur Karimsakov" userId="ea04722c-9be7-49ff-9a17-c5a9c646d8a7" providerId="ADAL" clId="{350D9B21-D69A-49EF-84B3-835EE077AC17}" dt="2024-08-26T06:22:12.908" v="1317" actId="20577"/>
          <ac:spMkLst>
            <pc:docMk/>
            <pc:sldMk cId="1261594426" sldId="2272"/>
            <ac:spMk id="43" creationId="{6AD82038-4161-625A-17E7-661B095A2912}"/>
          </ac:spMkLst>
        </pc:spChg>
        <pc:spChg chg="mod">
          <ac:chgData name="Timur Karimsakov" userId="ea04722c-9be7-49ff-9a17-c5a9c646d8a7" providerId="ADAL" clId="{350D9B21-D69A-49EF-84B3-835EE077AC17}" dt="2024-08-26T05:03:32.719" v="96" actId="14100"/>
          <ac:spMkLst>
            <pc:docMk/>
            <pc:sldMk cId="1261594426" sldId="2272"/>
            <ac:spMk id="79" creationId="{E3C6A7FD-C86A-81E4-FD5D-55EDE96D7153}"/>
          </ac:spMkLst>
        </pc:spChg>
        <pc:spChg chg="mod">
          <ac:chgData name="Timur Karimsakov" userId="ea04722c-9be7-49ff-9a17-c5a9c646d8a7" providerId="ADAL" clId="{350D9B21-D69A-49EF-84B3-835EE077AC17}" dt="2024-08-26T05:02:57.318" v="87"/>
          <ac:spMkLst>
            <pc:docMk/>
            <pc:sldMk cId="1261594426" sldId="2272"/>
            <ac:spMk id="80" creationId="{D0BB913E-0975-CF49-6F4B-AFE33584F8D0}"/>
          </ac:spMkLst>
        </pc:spChg>
        <pc:spChg chg="mod">
          <ac:chgData name="Timur Karimsakov" userId="ea04722c-9be7-49ff-9a17-c5a9c646d8a7" providerId="ADAL" clId="{350D9B21-D69A-49EF-84B3-835EE077AC17}" dt="2024-08-26T05:02:10.073" v="80"/>
          <ac:spMkLst>
            <pc:docMk/>
            <pc:sldMk cId="1261594426" sldId="2272"/>
            <ac:spMk id="96" creationId="{E1D943F2-AA58-9656-7ACC-4D3D69D55768}"/>
          </ac:spMkLst>
        </pc:spChg>
        <pc:spChg chg="mod">
          <ac:chgData name="Timur Karimsakov" userId="ea04722c-9be7-49ff-9a17-c5a9c646d8a7" providerId="ADAL" clId="{350D9B21-D69A-49EF-84B3-835EE077AC17}" dt="2024-08-26T05:02:17.575" v="81"/>
          <ac:spMkLst>
            <pc:docMk/>
            <pc:sldMk cId="1261594426" sldId="2272"/>
            <ac:spMk id="99" creationId="{74ECEA3C-F3D8-995A-B32A-6B07AF3736FC}"/>
          </ac:spMkLst>
        </pc:spChg>
        <pc:spChg chg="mod">
          <ac:chgData name="Timur Karimsakov" userId="ea04722c-9be7-49ff-9a17-c5a9c646d8a7" providerId="ADAL" clId="{350D9B21-D69A-49EF-84B3-835EE077AC17}" dt="2024-08-26T05:02:25.159" v="82"/>
          <ac:spMkLst>
            <pc:docMk/>
            <pc:sldMk cId="1261594426" sldId="2272"/>
            <ac:spMk id="101" creationId="{434A1D0E-2100-DA46-0DBF-E6D456C93F0B}"/>
          </ac:spMkLst>
        </pc:spChg>
        <pc:spChg chg="mod">
          <ac:chgData name="Timur Karimsakov" userId="ea04722c-9be7-49ff-9a17-c5a9c646d8a7" providerId="ADAL" clId="{350D9B21-D69A-49EF-84B3-835EE077AC17}" dt="2024-08-26T05:02:34.194" v="83"/>
          <ac:spMkLst>
            <pc:docMk/>
            <pc:sldMk cId="1261594426" sldId="2272"/>
            <ac:spMk id="103" creationId="{F25D5F82-B5DC-ADB4-8EAC-152FC30F6D5A}"/>
          </ac:spMkLst>
        </pc:spChg>
        <pc:spChg chg="mod">
          <ac:chgData name="Timur Karimsakov" userId="ea04722c-9be7-49ff-9a17-c5a9c646d8a7" providerId="ADAL" clId="{350D9B21-D69A-49EF-84B3-835EE077AC17}" dt="2024-08-26T05:02:44.434" v="86"/>
          <ac:spMkLst>
            <pc:docMk/>
            <pc:sldMk cId="1261594426" sldId="2272"/>
            <ac:spMk id="105" creationId="{DEB6EAED-AC4B-0635-0333-ED8AE33D1033}"/>
          </ac:spMkLst>
        </pc:spChg>
      </pc:sldChg>
      <pc:sldChg chg="addSp delSp modSp add mod ord">
        <pc:chgData name="Timur Karimsakov" userId="ea04722c-9be7-49ff-9a17-c5a9c646d8a7" providerId="ADAL" clId="{350D9B21-D69A-49EF-84B3-835EE077AC17}" dt="2024-08-26T06:00:29.718" v="828" actId="20577"/>
        <pc:sldMkLst>
          <pc:docMk/>
          <pc:sldMk cId="3326975222" sldId="2273"/>
        </pc:sldMkLst>
        <pc:spChg chg="mod">
          <ac:chgData name="Timur Karimsakov" userId="ea04722c-9be7-49ff-9a17-c5a9c646d8a7" providerId="ADAL" clId="{350D9B21-D69A-49EF-84B3-835EE077AC17}" dt="2024-08-26T06:00:29.718" v="828" actId="20577"/>
          <ac:spMkLst>
            <pc:docMk/>
            <pc:sldMk cId="3326975222" sldId="2273"/>
            <ac:spMk id="2" creationId="{E2ACA897-1275-1B3F-DF54-A2652605BB86}"/>
          </ac:spMkLst>
        </pc:spChg>
        <pc:spChg chg="add mod">
          <ac:chgData name="Timur Karimsakov" userId="ea04722c-9be7-49ff-9a17-c5a9c646d8a7" providerId="ADAL" clId="{350D9B21-D69A-49EF-84B3-835EE077AC17}" dt="2024-08-26T05:59:10.031" v="775"/>
          <ac:spMkLst>
            <pc:docMk/>
            <pc:sldMk cId="3326975222" sldId="2273"/>
            <ac:spMk id="4" creationId="{8572ABCC-4253-9ADE-F39F-D58F705B7C52}"/>
          </ac:spMkLst>
        </pc:spChg>
        <pc:spChg chg="mod">
          <ac:chgData name="Timur Karimsakov" userId="ea04722c-9be7-49ff-9a17-c5a9c646d8a7" providerId="ADAL" clId="{350D9B21-D69A-49EF-84B3-835EE077AC17}" dt="2024-08-26T05:59:30.730" v="781" actId="20577"/>
          <ac:spMkLst>
            <pc:docMk/>
            <pc:sldMk cId="3326975222" sldId="2273"/>
            <ac:spMk id="5" creationId="{3BDF9FDE-14C0-A91A-67D7-21196681CF6B}"/>
          </ac:spMkLst>
        </pc:spChg>
        <pc:spChg chg="mod">
          <ac:chgData name="Timur Karimsakov" userId="ea04722c-9be7-49ff-9a17-c5a9c646d8a7" providerId="ADAL" clId="{350D9B21-D69A-49EF-84B3-835EE077AC17}" dt="2024-08-26T05:59:41.179" v="790" actId="1076"/>
          <ac:spMkLst>
            <pc:docMk/>
            <pc:sldMk cId="3326975222" sldId="2273"/>
            <ac:spMk id="6" creationId="{0D248B02-CFFF-7BB0-5656-0E815B09FD4F}"/>
          </ac:spMkLst>
        </pc:spChg>
        <pc:spChg chg="add mod">
          <ac:chgData name="Timur Karimsakov" userId="ea04722c-9be7-49ff-9a17-c5a9c646d8a7" providerId="ADAL" clId="{350D9B21-D69A-49EF-84B3-835EE077AC17}" dt="2024-08-26T05:59:10.031" v="775"/>
          <ac:spMkLst>
            <pc:docMk/>
            <pc:sldMk cId="3326975222" sldId="2273"/>
            <ac:spMk id="7" creationId="{5FD24CE1-930C-8EB1-536E-F90EA6E01CB0}"/>
          </ac:spMkLst>
        </pc:spChg>
        <pc:spChg chg="mod">
          <ac:chgData name="Timur Karimsakov" userId="ea04722c-9be7-49ff-9a17-c5a9c646d8a7" providerId="ADAL" clId="{350D9B21-D69A-49EF-84B3-835EE077AC17}" dt="2024-08-26T05:59:44.574" v="796" actId="20577"/>
          <ac:spMkLst>
            <pc:docMk/>
            <pc:sldMk cId="3326975222" sldId="2273"/>
            <ac:spMk id="8" creationId="{5FB2B10B-8A3F-07EF-CD24-F24A59442658}"/>
          </ac:spMkLst>
        </pc:spChg>
        <pc:spChg chg="mod">
          <ac:chgData name="Timur Karimsakov" userId="ea04722c-9be7-49ff-9a17-c5a9c646d8a7" providerId="ADAL" clId="{350D9B21-D69A-49EF-84B3-835EE077AC17}" dt="2024-08-26T05:59:56.846" v="804" actId="1076"/>
          <ac:spMkLst>
            <pc:docMk/>
            <pc:sldMk cId="3326975222" sldId="2273"/>
            <ac:spMk id="9" creationId="{96D9F33A-C69C-2110-4CA9-14C69704658E}"/>
          </ac:spMkLst>
        </pc:spChg>
        <pc:spChg chg="mod">
          <ac:chgData name="Timur Karimsakov" userId="ea04722c-9be7-49ff-9a17-c5a9c646d8a7" providerId="ADAL" clId="{350D9B21-D69A-49EF-84B3-835EE077AC17}" dt="2024-08-26T06:00:05.695" v="812" actId="1076"/>
          <ac:spMkLst>
            <pc:docMk/>
            <pc:sldMk cId="3326975222" sldId="2273"/>
            <ac:spMk id="10" creationId="{7B7FEB6E-BF99-6FFE-48E8-4BEA45172F29}"/>
          </ac:spMkLst>
        </pc:spChg>
        <pc:spChg chg="mod">
          <ac:chgData name="Timur Karimsakov" userId="ea04722c-9be7-49ff-9a17-c5a9c646d8a7" providerId="ADAL" clId="{350D9B21-D69A-49EF-84B3-835EE077AC17}" dt="2024-08-26T06:00:18.560" v="817" actId="1076"/>
          <ac:spMkLst>
            <pc:docMk/>
            <pc:sldMk cId="3326975222" sldId="2273"/>
            <ac:spMk id="11" creationId="{C6965CAC-3C8D-76FC-5C2F-18761BFD6020}"/>
          </ac:spMkLst>
        </pc:spChg>
        <pc:spChg chg="mod">
          <ac:chgData name="Timur Karimsakov" userId="ea04722c-9be7-49ff-9a17-c5a9c646d8a7" providerId="ADAL" clId="{350D9B21-D69A-49EF-84B3-835EE077AC17}" dt="2024-08-26T06:00:26.773" v="822" actId="1076"/>
          <ac:spMkLst>
            <pc:docMk/>
            <pc:sldMk cId="3326975222" sldId="2273"/>
            <ac:spMk id="12" creationId="{868B19A3-723C-AE75-B4A7-2A827336010B}"/>
          </ac:spMkLst>
        </pc:spChg>
        <pc:spChg chg="add mod">
          <ac:chgData name="Timur Karimsakov" userId="ea04722c-9be7-49ff-9a17-c5a9c646d8a7" providerId="ADAL" clId="{350D9B21-D69A-49EF-84B3-835EE077AC17}" dt="2024-08-26T05:59:10.031" v="775"/>
          <ac:spMkLst>
            <pc:docMk/>
            <pc:sldMk cId="3326975222" sldId="2273"/>
            <ac:spMk id="14" creationId="{2869A0BE-0F3D-D0BE-8A26-2F039D4EE236}"/>
          </ac:spMkLst>
        </pc:spChg>
        <pc:spChg chg="add mod">
          <ac:chgData name="Timur Karimsakov" userId="ea04722c-9be7-49ff-9a17-c5a9c646d8a7" providerId="ADAL" clId="{350D9B21-D69A-49EF-84B3-835EE077AC17}" dt="2024-08-26T05:59:10.031" v="775"/>
          <ac:spMkLst>
            <pc:docMk/>
            <pc:sldMk cId="3326975222" sldId="2273"/>
            <ac:spMk id="16" creationId="{A8E1B36B-E0AD-11FC-2B41-FFECFF443F48}"/>
          </ac:spMkLst>
        </pc:spChg>
        <pc:spChg chg="del">
          <ac:chgData name="Timur Karimsakov" userId="ea04722c-9be7-49ff-9a17-c5a9c646d8a7" providerId="ADAL" clId="{350D9B21-D69A-49EF-84B3-835EE077AC17}" dt="2024-08-26T05:59:09.530" v="774" actId="478"/>
          <ac:spMkLst>
            <pc:docMk/>
            <pc:sldMk cId="3326975222" sldId="2273"/>
            <ac:spMk id="22" creationId="{4E419343-C5C2-DE1B-DC70-525CD0425129}"/>
          </ac:spMkLst>
        </pc:spChg>
        <pc:spChg chg="del">
          <ac:chgData name="Timur Karimsakov" userId="ea04722c-9be7-49ff-9a17-c5a9c646d8a7" providerId="ADAL" clId="{350D9B21-D69A-49EF-84B3-835EE077AC17}" dt="2024-08-26T05:59:09.530" v="774" actId="478"/>
          <ac:spMkLst>
            <pc:docMk/>
            <pc:sldMk cId="3326975222" sldId="2273"/>
            <ac:spMk id="26" creationId="{5207D035-86B8-0CEC-0970-2497474E02B0}"/>
          </ac:spMkLst>
        </pc:spChg>
        <pc:spChg chg="del">
          <ac:chgData name="Timur Karimsakov" userId="ea04722c-9be7-49ff-9a17-c5a9c646d8a7" providerId="ADAL" clId="{350D9B21-D69A-49EF-84B3-835EE077AC17}" dt="2024-08-26T05:59:09.530" v="774" actId="478"/>
          <ac:spMkLst>
            <pc:docMk/>
            <pc:sldMk cId="3326975222" sldId="2273"/>
            <ac:spMk id="32" creationId="{1EC3595D-077E-5E62-6167-A5A6D14EF34D}"/>
          </ac:spMkLst>
        </pc:spChg>
        <pc:spChg chg="del">
          <ac:chgData name="Timur Karimsakov" userId="ea04722c-9be7-49ff-9a17-c5a9c646d8a7" providerId="ADAL" clId="{350D9B21-D69A-49EF-84B3-835EE077AC17}" dt="2024-08-26T05:59:09.530" v="774" actId="478"/>
          <ac:spMkLst>
            <pc:docMk/>
            <pc:sldMk cId="3326975222" sldId="2273"/>
            <ac:spMk id="36" creationId="{5BAE1D1C-0FB9-4177-7EF7-7CA9FB17812C}"/>
          </ac:spMkLst>
        </pc:spChg>
        <pc:spChg chg="mod">
          <ac:chgData name="Timur Karimsakov" userId="ea04722c-9be7-49ff-9a17-c5a9c646d8a7" providerId="ADAL" clId="{350D9B21-D69A-49EF-84B3-835EE077AC17}" dt="2024-08-26T05:58:45.172" v="773" actId="404"/>
          <ac:spMkLst>
            <pc:docMk/>
            <pc:sldMk cId="3326975222" sldId="2273"/>
            <ac:spMk id="37" creationId="{E26DD868-52B5-B510-37AD-15634F3D01D1}"/>
          </ac:spMkLst>
        </pc:spChg>
        <pc:cxnChg chg="add mod">
          <ac:chgData name="Timur Karimsakov" userId="ea04722c-9be7-49ff-9a17-c5a9c646d8a7" providerId="ADAL" clId="{350D9B21-D69A-49EF-84B3-835EE077AC17}" dt="2024-08-26T05:59:10.031" v="775"/>
          <ac:cxnSpMkLst>
            <pc:docMk/>
            <pc:sldMk cId="3326975222" sldId="2273"/>
            <ac:cxnSpMk id="3" creationId="{24C61808-B542-F3DA-2E1B-684C20ECAFE0}"/>
          </ac:cxnSpMkLst>
        </pc:cxnChg>
        <pc:cxnChg chg="add mod">
          <ac:chgData name="Timur Karimsakov" userId="ea04722c-9be7-49ff-9a17-c5a9c646d8a7" providerId="ADAL" clId="{350D9B21-D69A-49EF-84B3-835EE077AC17}" dt="2024-08-26T05:59:10.031" v="775"/>
          <ac:cxnSpMkLst>
            <pc:docMk/>
            <pc:sldMk cId="3326975222" sldId="2273"/>
            <ac:cxnSpMk id="13" creationId="{A0C70288-AC78-EF02-2092-DC15508246A6}"/>
          </ac:cxnSpMkLst>
        </pc:cxnChg>
        <pc:cxnChg chg="add mod">
          <ac:chgData name="Timur Karimsakov" userId="ea04722c-9be7-49ff-9a17-c5a9c646d8a7" providerId="ADAL" clId="{350D9B21-D69A-49EF-84B3-835EE077AC17}" dt="2024-08-26T05:59:10.031" v="775"/>
          <ac:cxnSpMkLst>
            <pc:docMk/>
            <pc:sldMk cId="3326975222" sldId="2273"/>
            <ac:cxnSpMk id="15" creationId="{DB868EDD-DC76-98DF-6C38-F15923218EFF}"/>
          </ac:cxnSpMkLst>
        </pc:cxnChg>
        <pc:cxnChg chg="del">
          <ac:chgData name="Timur Karimsakov" userId="ea04722c-9be7-49ff-9a17-c5a9c646d8a7" providerId="ADAL" clId="{350D9B21-D69A-49EF-84B3-835EE077AC17}" dt="2024-08-26T05:59:09.530" v="774" actId="478"/>
          <ac:cxnSpMkLst>
            <pc:docMk/>
            <pc:sldMk cId="3326975222" sldId="2273"/>
            <ac:cxnSpMk id="31" creationId="{9F39AEC2-EF5A-4085-3F76-1D3EDE29D3F8}"/>
          </ac:cxnSpMkLst>
        </pc:cxnChg>
        <pc:cxnChg chg="del">
          <ac:chgData name="Timur Karimsakov" userId="ea04722c-9be7-49ff-9a17-c5a9c646d8a7" providerId="ADAL" clId="{350D9B21-D69A-49EF-84B3-835EE077AC17}" dt="2024-08-26T05:59:09.530" v="774" actId="478"/>
          <ac:cxnSpMkLst>
            <pc:docMk/>
            <pc:sldMk cId="3326975222" sldId="2273"/>
            <ac:cxnSpMk id="35" creationId="{8FD861E5-DFD4-3393-6F5D-883DFAB20E85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aifckz-my.sharepoint.com/personal/a_bekturov_aifc_kz/Documents/Customer%20Relationships/DATA%20ANALYTICS%20DEPARTMENT/Public%20Reports/Capital%20Markets/Monthly%20Reports/06.%20June/AIX_Data%20June%202024%20(filled%20in)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aifckz-my.sharepoint.com/personal/a_bekturov_aifc_kz/Documents/Customer%20Relationships/DATA%20ANALYTICS%20DEPARTMENT/Public%20Reports/Capital%20Markets/FINAL/market%20cap%20AIX%202018-202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EF6-43D7-B6A9-971E12792083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9716</c:v>
                </c:pt>
                <c:pt idx="1">
                  <c:v>62207</c:v>
                </c:pt>
                <c:pt idx="2">
                  <c:v>102906</c:v>
                </c:pt>
                <c:pt idx="3">
                  <c:v>159857</c:v>
                </c:pt>
                <c:pt idx="4">
                  <c:v>524259</c:v>
                </c:pt>
                <c:pt idx="5">
                  <c:v>1578001</c:v>
                </c:pt>
                <c:pt idx="6" formatCode="_(* #\ ##0_);_(* \(#\ ##0\);_(* &quot;-&quot;??_);_(@_)">
                  <c:v>1881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2A-4324-9E69-826E629248B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CBF-43FE-964A-025679053087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1">
                  <c:v>1000000</c:v>
                </c:pt>
                <c:pt idx="2">
                  <c:v>25000000</c:v>
                </c:pt>
                <c:pt idx="3">
                  <c:v>217000000</c:v>
                </c:pt>
                <c:pt idx="4">
                  <c:v>106000000</c:v>
                </c:pt>
                <c:pt idx="5">
                  <c:v>452000000</c:v>
                </c:pt>
                <c:pt idx="6">
                  <c:v>731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6D-43C4-A7F5-1811799FB1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26A6BD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D8-4966-9D56-52B46201D15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656495113303375E-2"/>
          <c:y val="4.583333333333333E-2"/>
          <c:w val="0.86076570574201017"/>
          <c:h val="0.834110892388451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stings</c:v>
                </c:pt>
              </c:strCache>
            </c:strRef>
          </c:tx>
          <c:spPr>
            <a:solidFill>
              <a:srgbClr val="008EA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</c:v>
                </c:pt>
                <c:pt idx="1">
                  <c:v>36</c:v>
                </c:pt>
                <c:pt idx="2">
                  <c:v>65</c:v>
                </c:pt>
                <c:pt idx="3">
                  <c:v>110</c:v>
                </c:pt>
                <c:pt idx="4">
                  <c:v>104</c:v>
                </c:pt>
                <c:pt idx="5">
                  <c:v>131</c:v>
                </c:pt>
                <c:pt idx="6">
                  <c:v>2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74-4BEC-B8DE-ADFD5BBEC44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suers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6</c:v>
                </c:pt>
                <c:pt idx="1">
                  <c:v>25</c:v>
                </c:pt>
                <c:pt idx="2">
                  <c:v>45</c:v>
                </c:pt>
                <c:pt idx="3">
                  <c:v>69</c:v>
                </c:pt>
                <c:pt idx="4">
                  <c:v>68</c:v>
                </c:pt>
                <c:pt idx="5">
                  <c:v>78</c:v>
                </c:pt>
                <c:pt idx="6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74-4BEC-B8DE-ADFD5BBEC4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rgbClr val="9DC3E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C3E6"/>
              </a:solidFill>
              <a:ln w="12700">
                <a:solidFill>
                  <a:srgbClr val="9DC3E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+8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77CA-40EC-BA63-E25FD7ABD9D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+28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7CA-40EC-BA63-E25FD7ABD9DE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defRPr>
                    </a:pPr>
                    <a:r>
                      <a: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rPr>
                      <a:t>+31</a:t>
                    </a:r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1100" b="0" i="0" u="none" strike="noStrike" kern="1200" baseline="0">
                      <a:solidFill>
                        <a:schemeClr val="tx1"/>
                      </a:solidFill>
                      <a:latin typeface="Montserrat" panose="00000500000000000000" pitchFamily="2" charset="-52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77CA-40EC-BA63-E25FD7ABD9D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B99A8969-297B-4FBA-9BFE-3705ABBAF586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7CA-40EC-BA63-E25FD7ABD9D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70CD3C8A-0672-4BFE-8A57-9850E7D93652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77CA-40EC-BA63-E25FD7ABD9D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4C1F1B30-74DA-4ECD-8E72-8CD0732A611B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7CA-40EC-BA63-E25FD7ABD9DE}"/>
                </c:ext>
              </c:extLst>
            </c:dLbl>
            <c:dLbl>
              <c:idx val="6"/>
              <c:layout>
                <c:manualLayout>
                  <c:x val="-5.891225216606899E-2"/>
                  <c:y val="-0.1690330852974152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+111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77CA-40EC-BA63-E25FD7ABD9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Sheet1!$B$2:$B$8</c:f>
              <c:numCache>
                <c:formatCode>0</c:formatCode>
                <c:ptCount val="7"/>
                <c:pt idx="0">
                  <c:v>8</c:v>
                </c:pt>
                <c:pt idx="1">
                  <c:v>28</c:v>
                </c:pt>
                <c:pt idx="2">
                  <c:v>31</c:v>
                </c:pt>
                <c:pt idx="3" formatCode="General">
                  <c:v>48</c:v>
                </c:pt>
                <c:pt idx="4" formatCode="General">
                  <c:v>13</c:v>
                </c:pt>
                <c:pt idx="5" formatCode="General">
                  <c:v>56</c:v>
                </c:pt>
                <c:pt idx="6" formatCode="General">
                  <c:v>1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7CA-40EC-BA63-E25FD7ABD9D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59168640"/>
        <c:axId val="1110479008"/>
      </c:lineChart>
      <c:catAx>
        <c:axId val="1259168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 w="952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70716867185282"/>
          <c:y val="7.187444983592424E-2"/>
          <c:w val="0.58645864500330702"/>
          <c:h val="0.8796878592790557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D2-45C7-855C-1AF338BB22C9}"/>
              </c:ext>
            </c:extLst>
          </c:dPt>
          <c:dPt>
            <c:idx val="1"/>
            <c:bubble3D val="0"/>
            <c:spPr>
              <a:solidFill>
                <a:srgbClr val="0058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D2-45C7-855C-1AF338BB22C9}"/>
              </c:ext>
            </c:extLst>
          </c:dPt>
          <c:dPt>
            <c:idx val="2"/>
            <c:bubble3D val="0"/>
            <c:spPr>
              <a:solidFill>
                <a:srgbClr val="549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D2-45C7-855C-1AF338BB22C9}"/>
              </c:ext>
            </c:extLst>
          </c:dPt>
          <c:dPt>
            <c:idx val="3"/>
            <c:bubble3D val="0"/>
            <c:spPr>
              <a:solidFill>
                <a:srgbClr val="26A6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D2-45C7-855C-1AF338BB22C9}"/>
              </c:ext>
            </c:extLst>
          </c:dPt>
          <c:dPt>
            <c:idx val="4"/>
            <c:bubble3D val="0"/>
            <c:spPr>
              <a:solidFill>
                <a:srgbClr val="82C6D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4D2-45C7-855C-1AF338BB22C9}"/>
              </c:ext>
            </c:extLst>
          </c:dPt>
          <c:dPt>
            <c:idx val="5"/>
            <c:bubble3D val="0"/>
            <c:spPr>
              <a:solidFill>
                <a:srgbClr val="B4C7E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4D2-45C7-855C-1AF338BB22C9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Investment </c:v>
                </c:pt>
                <c:pt idx="1">
                  <c:v>Oil&amp;Gas </c:v>
                </c:pt>
                <c:pt idx="2">
                  <c:v>Government </c:v>
                </c:pt>
                <c:pt idx="3">
                  <c:v>Logistics </c:v>
                </c:pt>
                <c:pt idx="4">
                  <c:v>Banking 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439</c:v>
                </c:pt>
                <c:pt idx="1">
                  <c:v>0.23100000000000001</c:v>
                </c:pt>
                <c:pt idx="2">
                  <c:v>9.1999999999999998E-2</c:v>
                </c:pt>
                <c:pt idx="3">
                  <c:v>8.3000000000000004E-2</c:v>
                </c:pt>
                <c:pt idx="4">
                  <c:v>5.2999999999999999E-2</c:v>
                </c:pt>
                <c:pt idx="5" formatCode="0.00%">
                  <c:v>0.10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4D2-45C7-855C-1AF338BB22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D1A-4E96-A764-79DBC7BB546B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1">
                  <c:v>813000000</c:v>
                </c:pt>
                <c:pt idx="2">
                  <c:v>148000000</c:v>
                </c:pt>
                <c:pt idx="3">
                  <c:v>708000000</c:v>
                </c:pt>
                <c:pt idx="4">
                  <c:v>557000000</c:v>
                </c:pt>
                <c:pt idx="5">
                  <c:v>2016000000</c:v>
                </c:pt>
                <c:pt idx="6">
                  <c:v>22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7A-4ED0-8902-63A117F6FFC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600820341643207E-2"/>
          <c:y val="1.3506229208019591E-2"/>
          <c:w val="0.92659836717471133"/>
          <c:h val="0.8657876407992332"/>
        </c:manualLayout>
      </c:layout>
      <c:lineChart>
        <c:grouping val="standard"/>
        <c:varyColors val="0"/>
        <c:ser>
          <c:idx val="1"/>
          <c:order val="1"/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Pt>
            <c:idx val="23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A1C-40ED-83BD-90A825301B33}"/>
              </c:ext>
            </c:extLst>
          </c:dPt>
          <c:dPt>
            <c:idx val="24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8A1C-40ED-83BD-90A825301B33}"/>
              </c:ext>
            </c:extLst>
          </c:dPt>
          <c:dPt>
            <c:idx val="35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1C-40ED-83BD-90A825301B33}"/>
              </c:ext>
            </c:extLst>
          </c:dPt>
          <c:dPt>
            <c:idx val="46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8A1C-40ED-83BD-90A825301B33}"/>
              </c:ext>
            </c:extLst>
          </c:dPt>
          <c:dPt>
            <c:idx val="54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8A1C-40ED-83BD-90A825301B33}"/>
              </c:ext>
            </c:extLst>
          </c:dPt>
          <c:dPt>
            <c:idx val="61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8A1C-40ED-83BD-90A825301B33}"/>
              </c:ext>
            </c:extLst>
          </c:dPt>
          <c:dPt>
            <c:idx val="62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A1C-40ED-83BD-90A825301B33}"/>
              </c:ext>
            </c:extLst>
          </c:dPt>
          <c:dPt>
            <c:idx val="63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spPr>
              <a:ln w="19050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8A1C-40ED-83BD-90A825301B33}"/>
              </c:ext>
            </c:extLst>
          </c:dPt>
          <c:dPt>
            <c:idx val="64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A1C-40ED-83BD-90A825301B33}"/>
              </c:ext>
            </c:extLst>
          </c:dPt>
          <c:dPt>
            <c:idx val="65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A1C-40ED-83BD-90A825301B33}"/>
              </c:ext>
            </c:extLst>
          </c:dPt>
          <c:dPt>
            <c:idx val="66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8A1C-40ED-83BD-90A825301B33}"/>
              </c:ext>
            </c:extLst>
          </c:dPt>
          <c:dPt>
            <c:idx val="67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8A1C-40ED-83BD-90A825301B33}"/>
              </c:ext>
            </c:extLst>
          </c:dPt>
          <c:dPt>
            <c:idx val="68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8A1C-40ED-83BD-90A825301B33}"/>
              </c:ext>
            </c:extLst>
          </c:dPt>
          <c:dPt>
            <c:idx val="69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8A1C-40ED-83BD-90A825301B33}"/>
              </c:ext>
            </c:extLst>
          </c:dPt>
          <c:dPt>
            <c:idx val="70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8A1C-40ED-83BD-90A825301B33}"/>
              </c:ext>
            </c:extLst>
          </c:dPt>
          <c:dPt>
            <c:idx val="71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8A1C-40ED-83BD-90A825301B33}"/>
              </c:ext>
            </c:extLst>
          </c:dPt>
          <c:dPt>
            <c:idx val="72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8A1C-40ED-83BD-90A825301B33}"/>
              </c:ext>
            </c:extLst>
          </c:dPt>
          <c:dPt>
            <c:idx val="73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8A1C-40ED-83BD-90A825301B33}"/>
              </c:ext>
            </c:extLst>
          </c:dPt>
          <c:dPt>
            <c:idx val="74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8A1C-40ED-83BD-90A825301B33}"/>
              </c:ext>
            </c:extLst>
          </c:dPt>
          <c:dPt>
            <c:idx val="75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8A1C-40ED-83BD-90A825301B33}"/>
              </c:ext>
            </c:extLst>
          </c:dPt>
          <c:dLbls>
            <c:delete val="1"/>
          </c:dLbls>
          <c:cat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cat>
          <c:val>
            <c:numRef>
              <c:f>YTM!$U$3:$U$95</c:f>
              <c:numCache>
                <c:formatCode>0.00%</c:formatCode>
                <c:ptCount val="93"/>
                <c:pt idx="0">
                  <c:v>0.1575</c:v>
                </c:pt>
                <c:pt idx="1">
                  <c:v>0.1575</c:v>
                </c:pt>
                <c:pt idx="2">
                  <c:v>0.1525</c:v>
                </c:pt>
                <c:pt idx="3">
                  <c:v>0.1525</c:v>
                </c:pt>
                <c:pt idx="4">
                  <c:v>0.1525</c:v>
                </c:pt>
                <c:pt idx="5">
                  <c:v>0.1525</c:v>
                </c:pt>
                <c:pt idx="6">
                  <c:v>0.1525</c:v>
                </c:pt>
                <c:pt idx="7">
                  <c:v>0.1525</c:v>
                </c:pt>
                <c:pt idx="8">
                  <c:v>0.1525</c:v>
                </c:pt>
                <c:pt idx="9">
                  <c:v>0.14749999999999999</c:v>
                </c:pt>
                <c:pt idx="10">
                  <c:v>0.14749999999999999</c:v>
                </c:pt>
                <c:pt idx="11">
                  <c:v>0.14749999999999999</c:v>
                </c:pt>
                <c:pt idx="12">
                  <c:v>0.14749999999999999</c:v>
                </c:pt>
                <c:pt idx="13">
                  <c:v>0.14749999999999999</c:v>
                </c:pt>
                <c:pt idx="14">
                  <c:v>0.14749999999999999</c:v>
                </c:pt>
                <c:pt idx="15">
                  <c:v>0.14749999999999999</c:v>
                </c:pt>
                <c:pt idx="16">
                  <c:v>0.14749999999999999</c:v>
                </c:pt>
                <c:pt idx="17">
                  <c:v>0.14749999999999999</c:v>
                </c:pt>
                <c:pt idx="18">
                  <c:v>0.14749999999999999</c:v>
                </c:pt>
                <c:pt idx="19">
                  <c:v>0.14749999999999999</c:v>
                </c:pt>
                <c:pt idx="20">
                  <c:v>0.14749999999999999</c:v>
                </c:pt>
                <c:pt idx="21">
                  <c:v>0.14749999999999999</c:v>
                </c:pt>
                <c:pt idx="22">
                  <c:v>0.14749999999999999</c:v>
                </c:pt>
                <c:pt idx="23">
                  <c:v>0.14749999999999999</c:v>
                </c:pt>
                <c:pt idx="24">
                  <c:v>0.14749999999999999</c:v>
                </c:pt>
                <c:pt idx="25">
                  <c:v>0.14749999999999999</c:v>
                </c:pt>
                <c:pt idx="26">
                  <c:v>0.14749999999999999</c:v>
                </c:pt>
                <c:pt idx="27">
                  <c:v>0.14749999999999999</c:v>
                </c:pt>
                <c:pt idx="28">
                  <c:v>0.14749999999999999</c:v>
                </c:pt>
                <c:pt idx="29">
                  <c:v>0.14749999999999999</c:v>
                </c:pt>
                <c:pt idx="30">
                  <c:v>0.14749999999999999</c:v>
                </c:pt>
                <c:pt idx="31">
                  <c:v>0.14749999999999999</c:v>
                </c:pt>
                <c:pt idx="32">
                  <c:v>0.14499999999999999</c:v>
                </c:pt>
                <c:pt idx="33">
                  <c:v>0.14499999999999999</c:v>
                </c:pt>
                <c:pt idx="34">
                  <c:v>0.14499999999999999</c:v>
                </c:pt>
                <c:pt idx="35">
                  <c:v>0.14499999999999999</c:v>
                </c:pt>
                <c:pt idx="36">
                  <c:v>0.14499999999999999</c:v>
                </c:pt>
                <c:pt idx="37">
                  <c:v>0.14499999999999999</c:v>
                </c:pt>
                <c:pt idx="38">
                  <c:v>0.14499999999999999</c:v>
                </c:pt>
                <c:pt idx="39">
                  <c:v>0.14499999999999999</c:v>
                </c:pt>
                <c:pt idx="40">
                  <c:v>0.14499999999999999</c:v>
                </c:pt>
                <c:pt idx="41">
                  <c:v>0.14499999999999999</c:v>
                </c:pt>
                <c:pt idx="42">
                  <c:v>0.14499999999999999</c:v>
                </c:pt>
                <c:pt idx="43">
                  <c:v>0.14499999999999999</c:v>
                </c:pt>
                <c:pt idx="44">
                  <c:v>0.14499999999999999</c:v>
                </c:pt>
                <c:pt idx="45">
                  <c:v>0.14499999999999999</c:v>
                </c:pt>
                <c:pt idx="46">
                  <c:v>0.14499999999999999</c:v>
                </c:pt>
                <c:pt idx="47">
                  <c:v>0.14249999999999999</c:v>
                </c:pt>
                <c:pt idx="48">
                  <c:v>0.14249999999999999</c:v>
                </c:pt>
                <c:pt idx="49">
                  <c:v>0.14249999999999999</c:v>
                </c:pt>
                <c:pt idx="50">
                  <c:v>0.14249999999999999</c:v>
                </c:pt>
                <c:pt idx="51">
                  <c:v>0.14249999999999999</c:v>
                </c:pt>
                <c:pt idx="52">
                  <c:v>0.14249999999999999</c:v>
                </c:pt>
                <c:pt idx="53">
                  <c:v>0.14249999999999999</c:v>
                </c:pt>
                <c:pt idx="54">
                  <c:v>0.14249999999999999</c:v>
                </c:pt>
                <c:pt idx="55">
                  <c:v>0.14249999999999999</c:v>
                </c:pt>
                <c:pt idx="56">
                  <c:v>0.14249999999999999</c:v>
                </c:pt>
                <c:pt idx="57">
                  <c:v>0.14249999999999999</c:v>
                </c:pt>
                <c:pt idx="58">
                  <c:v>0.14249999999999999</c:v>
                </c:pt>
                <c:pt idx="59">
                  <c:v>0.14249999999999999</c:v>
                </c:pt>
                <c:pt idx="60">
                  <c:v>0.14249999999999999</c:v>
                </c:pt>
                <c:pt idx="61">
                  <c:v>0.14249999999999999</c:v>
                </c:pt>
                <c:pt idx="62">
                  <c:v>0.14249999999999999</c:v>
                </c:pt>
                <c:pt idx="63">
                  <c:v>0.14249999999999999</c:v>
                </c:pt>
                <c:pt idx="64">
                  <c:v>0.14249999999999999</c:v>
                </c:pt>
                <c:pt idx="65">
                  <c:v>0.14249999999999999</c:v>
                </c:pt>
                <c:pt idx="66">
                  <c:v>0.14249999999999999</c:v>
                </c:pt>
                <c:pt idx="67">
                  <c:v>0.14249999999999999</c:v>
                </c:pt>
                <c:pt idx="68">
                  <c:v>0.14249999999999999</c:v>
                </c:pt>
                <c:pt idx="69">
                  <c:v>0.14249999999999999</c:v>
                </c:pt>
                <c:pt idx="70">
                  <c:v>0.14249999999999999</c:v>
                </c:pt>
                <c:pt idx="71">
                  <c:v>0.14249999999999999</c:v>
                </c:pt>
                <c:pt idx="72">
                  <c:v>0.14249999999999999</c:v>
                </c:pt>
                <c:pt idx="73">
                  <c:v>0.14249999999999999</c:v>
                </c:pt>
                <c:pt idx="74">
                  <c:v>0.14249999999999999</c:v>
                </c:pt>
                <c:pt idx="75">
                  <c:v>0.14249999999999999</c:v>
                </c:pt>
                <c:pt idx="76">
                  <c:v>0.14249999999999999</c:v>
                </c:pt>
                <c:pt idx="77">
                  <c:v>0.14249999999999999</c:v>
                </c:pt>
                <c:pt idx="78">
                  <c:v>0.14249999999999999</c:v>
                </c:pt>
                <c:pt idx="79">
                  <c:v>0.14249999999999999</c:v>
                </c:pt>
                <c:pt idx="80">
                  <c:v>0.14249999999999999</c:v>
                </c:pt>
                <c:pt idx="81">
                  <c:v>0.14249999999999999</c:v>
                </c:pt>
                <c:pt idx="82">
                  <c:v>0.14249999999999999</c:v>
                </c:pt>
                <c:pt idx="83">
                  <c:v>0.14249999999999999</c:v>
                </c:pt>
                <c:pt idx="84">
                  <c:v>0.14249999999999999</c:v>
                </c:pt>
                <c:pt idx="85">
                  <c:v>0.14249999999999999</c:v>
                </c:pt>
                <c:pt idx="86">
                  <c:v>0.14249999999999999</c:v>
                </c:pt>
                <c:pt idx="87">
                  <c:v>0.14249999999999999</c:v>
                </c:pt>
                <c:pt idx="88">
                  <c:v>0.14249999999999999</c:v>
                </c:pt>
                <c:pt idx="89">
                  <c:v>0.14249999999999999</c:v>
                </c:pt>
                <c:pt idx="90">
                  <c:v>0.14249999999999999</c:v>
                </c:pt>
                <c:pt idx="91">
                  <c:v>0.14249999999999999</c:v>
                </c:pt>
                <c:pt idx="92">
                  <c:v>0.1424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8A1C-40ED-83BD-90A825301B33}"/>
            </c:ext>
          </c:extLst>
        </c:ser>
        <c:ser>
          <c:idx val="2"/>
          <c:order val="2"/>
          <c:spPr>
            <a:ln w="19050" cap="rnd">
              <a:solidFill>
                <a:srgbClr val="4BB5C8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cat>
          <c:val>
            <c:numRef>
              <c:f>YTM!$V$3:$V$95</c:f>
              <c:numCache>
                <c:formatCode>0.00%</c:formatCode>
                <c:ptCount val="93"/>
                <c:pt idx="0">
                  <c:v>5.33E-2</c:v>
                </c:pt>
                <c:pt idx="1">
                  <c:v>5.33E-2</c:v>
                </c:pt>
                <c:pt idx="2">
                  <c:v>5.33E-2</c:v>
                </c:pt>
                <c:pt idx="3">
                  <c:v>5.33E-2</c:v>
                </c:pt>
                <c:pt idx="4">
                  <c:v>5.33E-2</c:v>
                </c:pt>
                <c:pt idx="5">
                  <c:v>5.33E-2</c:v>
                </c:pt>
                <c:pt idx="6">
                  <c:v>5.33E-2</c:v>
                </c:pt>
                <c:pt idx="7">
                  <c:v>5.33E-2</c:v>
                </c:pt>
                <c:pt idx="8">
                  <c:v>5.33E-2</c:v>
                </c:pt>
                <c:pt idx="9">
                  <c:v>5.33E-2</c:v>
                </c:pt>
                <c:pt idx="10">
                  <c:v>5.33E-2</c:v>
                </c:pt>
                <c:pt idx="11">
                  <c:v>5.33E-2</c:v>
                </c:pt>
                <c:pt idx="12">
                  <c:v>5.33E-2</c:v>
                </c:pt>
                <c:pt idx="13">
                  <c:v>5.33E-2</c:v>
                </c:pt>
                <c:pt idx="14">
                  <c:v>5.33E-2</c:v>
                </c:pt>
                <c:pt idx="15">
                  <c:v>5.33E-2</c:v>
                </c:pt>
                <c:pt idx="16">
                  <c:v>5.33E-2</c:v>
                </c:pt>
                <c:pt idx="17">
                  <c:v>5.33E-2</c:v>
                </c:pt>
                <c:pt idx="18">
                  <c:v>5.33E-2</c:v>
                </c:pt>
                <c:pt idx="19">
                  <c:v>5.33E-2</c:v>
                </c:pt>
                <c:pt idx="20">
                  <c:v>5.33E-2</c:v>
                </c:pt>
                <c:pt idx="21">
                  <c:v>5.33E-2</c:v>
                </c:pt>
                <c:pt idx="22">
                  <c:v>5.33E-2</c:v>
                </c:pt>
                <c:pt idx="23">
                  <c:v>5.33E-2</c:v>
                </c:pt>
                <c:pt idx="24">
                  <c:v>5.33E-2</c:v>
                </c:pt>
                <c:pt idx="25">
                  <c:v>5.33E-2</c:v>
                </c:pt>
                <c:pt idx="26">
                  <c:v>5.33E-2</c:v>
                </c:pt>
                <c:pt idx="27">
                  <c:v>5.33E-2</c:v>
                </c:pt>
                <c:pt idx="28">
                  <c:v>5.33E-2</c:v>
                </c:pt>
                <c:pt idx="29">
                  <c:v>5.33E-2</c:v>
                </c:pt>
                <c:pt idx="30">
                  <c:v>5.33E-2</c:v>
                </c:pt>
                <c:pt idx="31">
                  <c:v>5.33E-2</c:v>
                </c:pt>
                <c:pt idx="32">
                  <c:v>5.33E-2</c:v>
                </c:pt>
                <c:pt idx="33">
                  <c:v>5.33E-2</c:v>
                </c:pt>
                <c:pt idx="34">
                  <c:v>5.33E-2</c:v>
                </c:pt>
                <c:pt idx="35">
                  <c:v>5.33E-2</c:v>
                </c:pt>
                <c:pt idx="36">
                  <c:v>5.33E-2</c:v>
                </c:pt>
                <c:pt idx="37">
                  <c:v>5.33E-2</c:v>
                </c:pt>
                <c:pt idx="38">
                  <c:v>5.33E-2</c:v>
                </c:pt>
                <c:pt idx="39">
                  <c:v>5.33E-2</c:v>
                </c:pt>
                <c:pt idx="40">
                  <c:v>5.33E-2</c:v>
                </c:pt>
                <c:pt idx="41">
                  <c:v>5.33E-2</c:v>
                </c:pt>
                <c:pt idx="42">
                  <c:v>5.33E-2</c:v>
                </c:pt>
                <c:pt idx="43">
                  <c:v>5.33E-2</c:v>
                </c:pt>
                <c:pt idx="44">
                  <c:v>5.33E-2</c:v>
                </c:pt>
                <c:pt idx="45">
                  <c:v>5.33E-2</c:v>
                </c:pt>
                <c:pt idx="46">
                  <c:v>5.33E-2</c:v>
                </c:pt>
                <c:pt idx="47">
                  <c:v>5.33E-2</c:v>
                </c:pt>
                <c:pt idx="48">
                  <c:v>5.33E-2</c:v>
                </c:pt>
                <c:pt idx="49">
                  <c:v>5.33E-2</c:v>
                </c:pt>
                <c:pt idx="50">
                  <c:v>5.33E-2</c:v>
                </c:pt>
                <c:pt idx="51">
                  <c:v>5.33E-2</c:v>
                </c:pt>
                <c:pt idx="52">
                  <c:v>5.33E-2</c:v>
                </c:pt>
                <c:pt idx="53">
                  <c:v>5.33E-2</c:v>
                </c:pt>
                <c:pt idx="54">
                  <c:v>5.33E-2</c:v>
                </c:pt>
                <c:pt idx="55">
                  <c:v>5.33E-2</c:v>
                </c:pt>
                <c:pt idx="56">
                  <c:v>5.33E-2</c:v>
                </c:pt>
                <c:pt idx="57">
                  <c:v>5.33E-2</c:v>
                </c:pt>
                <c:pt idx="58">
                  <c:v>5.33E-2</c:v>
                </c:pt>
                <c:pt idx="59">
                  <c:v>5.33E-2</c:v>
                </c:pt>
                <c:pt idx="60">
                  <c:v>5.1299999999999998E-2</c:v>
                </c:pt>
                <c:pt idx="61">
                  <c:v>5.1299999999999998E-2</c:v>
                </c:pt>
                <c:pt idx="62">
                  <c:v>5.1299999999999998E-2</c:v>
                </c:pt>
                <c:pt idx="63">
                  <c:v>5.1299999999999998E-2</c:v>
                </c:pt>
                <c:pt idx="64">
                  <c:v>5.1299999999999998E-2</c:v>
                </c:pt>
                <c:pt idx="65">
                  <c:v>5.1299999999999998E-2</c:v>
                </c:pt>
                <c:pt idx="66">
                  <c:v>5.1299999999999998E-2</c:v>
                </c:pt>
                <c:pt idx="67">
                  <c:v>5.1299999999999998E-2</c:v>
                </c:pt>
                <c:pt idx="68">
                  <c:v>5.1299999999999998E-2</c:v>
                </c:pt>
                <c:pt idx="69">
                  <c:v>5.1299999999999998E-2</c:v>
                </c:pt>
                <c:pt idx="70">
                  <c:v>5.1299999999999998E-2</c:v>
                </c:pt>
                <c:pt idx="71">
                  <c:v>5.1299999999999998E-2</c:v>
                </c:pt>
                <c:pt idx="72">
                  <c:v>5.1299999999999998E-2</c:v>
                </c:pt>
                <c:pt idx="73">
                  <c:v>5.1299999999999998E-2</c:v>
                </c:pt>
                <c:pt idx="74">
                  <c:v>5.1299999999999998E-2</c:v>
                </c:pt>
                <c:pt idx="75">
                  <c:v>5.1299999999999998E-2</c:v>
                </c:pt>
                <c:pt idx="76">
                  <c:v>5.1299999999999998E-2</c:v>
                </c:pt>
                <c:pt idx="77">
                  <c:v>5.1299999999999998E-2</c:v>
                </c:pt>
                <c:pt idx="78">
                  <c:v>5.1299999999999998E-2</c:v>
                </c:pt>
                <c:pt idx="79">
                  <c:v>5.1299999999999998E-2</c:v>
                </c:pt>
                <c:pt idx="80">
                  <c:v>5.1299999999999998E-2</c:v>
                </c:pt>
                <c:pt idx="81">
                  <c:v>5.1299999999999998E-2</c:v>
                </c:pt>
                <c:pt idx="82">
                  <c:v>4.8300000000000003E-2</c:v>
                </c:pt>
                <c:pt idx="83">
                  <c:v>4.8300000000000003E-2</c:v>
                </c:pt>
                <c:pt idx="84">
                  <c:v>4.58E-2</c:v>
                </c:pt>
                <c:pt idx="85">
                  <c:v>4.58E-2</c:v>
                </c:pt>
                <c:pt idx="86">
                  <c:v>4.58E-2</c:v>
                </c:pt>
                <c:pt idx="87">
                  <c:v>4.58E-2</c:v>
                </c:pt>
                <c:pt idx="88">
                  <c:v>4.58E-2</c:v>
                </c:pt>
                <c:pt idx="89">
                  <c:v>4.58E-2</c:v>
                </c:pt>
                <c:pt idx="90">
                  <c:v>4.58E-2</c:v>
                </c:pt>
                <c:pt idx="91">
                  <c:v>4.58E-2</c:v>
                </c:pt>
                <c:pt idx="92">
                  <c:v>4.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8A1C-40ED-83BD-90A825301B33}"/>
            </c:ext>
          </c:extLst>
        </c:ser>
        <c:ser>
          <c:idx val="3"/>
          <c:order val="3"/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cat>
          <c:val>
            <c:numRef>
              <c:f>YTM!$W$3:$W$95</c:f>
              <c:numCache>
                <c:formatCode>General</c:formatCode>
                <c:ptCount val="9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8A1C-40ED-83BD-90A825301B33}"/>
            </c:ext>
          </c:extLst>
        </c:ser>
        <c:ser>
          <c:idx val="4"/>
          <c:order val="4"/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cat>
          <c:val>
            <c:numRef>
              <c:f>YTM!$X$3:$X$95</c:f>
              <c:numCache>
                <c:formatCode>General</c:formatCode>
                <c:ptCount val="9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8A1C-40ED-83BD-90A825301B3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96359920"/>
        <c:axId val="746240895"/>
      </c:lineChar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diamond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8A1C-40ED-83BD-90A825301B3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9277286-018D-4428-A586-ADC865A58228}" type="CELLRANGE">
                      <a:rPr lang="ru-KZ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8A1C-40ED-83BD-90A825301B33}"/>
                </c:ext>
              </c:extLst>
            </c:dLbl>
            <c:dLbl>
              <c:idx val="2"/>
              <c:layout>
                <c:manualLayout>
                  <c:x val="-6.0476680049314682E-2"/>
                  <c:y val="-2.4190071742715934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0C8A26C4-1B22-46A7-876A-13E55103A267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8A1C-40ED-83BD-90A825301B33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1A93AE70-C705-4FC3-86D3-546F3158E3C5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8A1C-40ED-83BD-90A825301B33}"/>
                </c:ext>
              </c:extLst>
            </c:dLbl>
            <c:dLbl>
              <c:idx val="4"/>
              <c:layout>
                <c:manualLayout>
                  <c:x val="-5.200994484241063E-2"/>
                  <c:y val="-3.7628894670332494E-2"/>
                </c:manualLayout>
              </c:layout>
              <c:tx>
                <c:rich>
                  <a:bodyPr/>
                  <a:lstStyle/>
                  <a:p>
                    <a:fld id="{BE88C46E-370A-44BF-8582-9A51FCDC4BF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16250131548684"/>
                      <c:h val="8.9624321625098743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8A1C-40ED-83BD-90A825301B33}"/>
                </c:ext>
              </c:extLst>
            </c:dLbl>
            <c:dLbl>
              <c:idx val="5"/>
              <c:layout>
                <c:manualLayout>
                  <c:x val="-1.5723936812821842E-2"/>
                  <c:y val="2.6877857491906486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E5C42588-2C2D-46A9-861D-0F3223B9D9C8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8A1C-40ED-83BD-90A825301B33}"/>
                </c:ext>
              </c:extLst>
            </c:dLbl>
            <c:dLbl>
              <c:idx val="6"/>
              <c:layout>
                <c:manualLayout>
                  <c:x val="-4.9590877640438041E-2"/>
                  <c:y val="5.6443500733003617E-2"/>
                </c:manualLayout>
              </c:layout>
              <c:tx>
                <c:rich>
                  <a:bodyPr/>
                  <a:lstStyle/>
                  <a:p>
                    <a:fld id="{B46DB542-2989-4118-A174-6E2E724ECF3A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72605587759521E-2"/>
                      <c:h val="8.055293890324373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8A1C-40ED-83BD-90A825301B33}"/>
                </c:ext>
              </c:extLst>
            </c:dLbl>
            <c:dLbl>
              <c:idx val="7"/>
              <c:layout>
                <c:manualLayout>
                  <c:x val="-6.7733834035799342E-2"/>
                  <c:y val="5.2411716290881059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DBF86C1-E797-4801-B48C-CF4846EC0354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747590337636064"/>
                      <c:h val="8.324072465243437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8A1C-40ED-83BD-90A825301B33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102A452-4C9E-4BB7-8185-E40E03C87EF0}" type="CELLRANGE">
                      <a:rPr lang="ru-KZ"/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8A1C-40ED-83BD-90A825301B33}"/>
                </c:ext>
              </c:extLst>
            </c:dLbl>
            <c:dLbl>
              <c:idx val="9"/>
              <c:layout>
                <c:manualLayout>
                  <c:x val="-8.6481700089953109E-2"/>
                  <c:y val="1.3438928745953243E-2"/>
                </c:manualLayout>
              </c:layout>
              <c:tx>
                <c:rich>
                  <a:bodyPr/>
                  <a:lstStyle/>
                  <a:p>
                    <a:fld id="{30EFA37B-3B52-445F-A8C3-FAD0D29415F7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4023142092102635E-2"/>
                      <c:h val="9.667965339838761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8A1C-40ED-83BD-90A825301B33}"/>
                </c:ext>
              </c:extLst>
            </c:dLbl>
            <c:dLbl>
              <c:idx val="10"/>
              <c:layout>
                <c:manualLayout>
                  <c:x val="-2.902880642367105E-2"/>
                  <c:y val="5.2411822109217646E-2"/>
                </c:manualLayout>
              </c:layout>
              <c:tx>
                <c:rich>
                  <a:bodyPr/>
                  <a:lstStyle/>
                  <a:p>
                    <a:fld id="{86F50ED5-4A7B-468B-92F7-ADFCF2074B8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74814891358644"/>
                      <c:h val="7.24895816556717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8A1C-40ED-83BD-90A825301B33}"/>
                </c:ext>
              </c:extLst>
            </c:dLbl>
            <c:dLbl>
              <c:idx val="11"/>
              <c:layout>
                <c:manualLayout>
                  <c:x val="-4.8381344039451747E-2"/>
                  <c:y val="-6.1819072231384962E-2"/>
                </c:manualLayout>
              </c:layout>
              <c:tx>
                <c:rich>
                  <a:bodyPr/>
                  <a:lstStyle/>
                  <a:p>
                    <a:fld id="{9D1A5855-FB54-4750-B008-1D70F0930C9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5450706029525E-2"/>
                      <c:h val="7.517736740486244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8A1C-40ED-83BD-90A825301B33}"/>
                </c:ext>
              </c:extLst>
            </c:dLbl>
            <c:dLbl>
              <c:idx val="12"/>
              <c:layout>
                <c:manualLayout>
                  <c:x val="-3.9309842032054544E-2"/>
                  <c:y val="-2.9565643241097134E-2"/>
                </c:manualLayout>
              </c:layout>
              <c:tx>
                <c:rich>
                  <a:bodyPr/>
                  <a:lstStyle/>
                  <a:p>
                    <a:fld id="{30F2804D-1EE0-41AB-A4D9-BCD8EE10C65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153109334694614"/>
                      <c:h val="8.055293890324373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8A1C-40ED-83BD-90A825301B33}"/>
                </c:ext>
              </c:extLst>
            </c:dLbl>
            <c:dLbl>
              <c:idx val="13"/>
              <c:layout>
                <c:manualLayout>
                  <c:x val="4.7619433109696603E-8"/>
                  <c:y val="1.3438928745953243E-2"/>
                </c:manualLayout>
              </c:layout>
              <c:tx>
                <c:rich>
                  <a:bodyPr/>
                  <a:lstStyle/>
                  <a:p>
                    <a:fld id="{B8487FE8-1D80-460E-859B-94553B9C4808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734569756040881"/>
                      <c:h val="9.667965339838761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8A1C-40ED-83BD-90A825301B33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4DA8244-A957-4035-969C-6C876440F25D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8A1C-40ED-83BD-90A825301B33}"/>
                </c:ext>
              </c:extLst>
            </c:dLbl>
            <c:dLbl>
              <c:idx val="15"/>
              <c:layout>
                <c:manualLayout>
                  <c:x val="-6.4105280852273613E-2"/>
                  <c:y val="-3.8972893363264427E-2"/>
                </c:manualLayout>
              </c:layout>
              <c:tx>
                <c:rich>
                  <a:bodyPr/>
                  <a:lstStyle/>
                  <a:p>
                    <a:fld id="{41395383-A30E-47F9-A414-DF6892D4CC3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7881868567507451E-2"/>
                      <c:h val="6.711401015729048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8A1C-40ED-83BD-90A825301B33}"/>
                </c:ext>
              </c:extLst>
            </c:dLbl>
            <c:dLbl>
              <c:idx val="16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06F3CE65-AE79-4C40-B7A0-9261D103EBE6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8A1C-40ED-83BD-90A825301B33}"/>
                </c:ext>
              </c:extLst>
            </c:dLbl>
            <c:dLbl>
              <c:idx val="17"/>
              <c:layout>
                <c:manualLayout>
                  <c:x val="-6.1686118411434759E-2"/>
                  <c:y val="-4.972414217836358E-2"/>
                </c:manualLayout>
              </c:layout>
              <c:tx>
                <c:rich>
                  <a:bodyPr/>
                  <a:lstStyle/>
                  <a:p>
                    <a:fld id="{E1A61A9C-80C9-46F0-B009-EBCD9B99979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233222840375374"/>
                      <c:h val="8.324072465243437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8A1C-40ED-83BD-90A825301B33}"/>
                </c:ext>
              </c:extLst>
            </c:dLbl>
            <c:dLbl>
              <c:idx val="18"/>
              <c:layout>
                <c:manualLayout>
                  <c:x val="-2.2981138418739579E-2"/>
                  <c:y val="-1.881450024433454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12C9ECE2-035A-48BE-8602-CFA567310DD2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8A1C-40ED-83BD-90A825301B33}"/>
                </c:ext>
              </c:extLst>
            </c:dLbl>
            <c:dLbl>
              <c:idx val="19"/>
              <c:layout>
                <c:manualLayout>
                  <c:x val="-2.7819272822684798E-2"/>
                  <c:y val="-3.2253428990287832E-2"/>
                </c:manualLayout>
              </c:layout>
              <c:tx>
                <c:rich>
                  <a:bodyPr/>
                  <a:lstStyle/>
                  <a:p>
                    <a:fld id="{50A709A6-D21A-4F4F-979E-6E0ECF1654A2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853009286265654E-2"/>
                      <c:h val="5.6362867160527901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8A1C-40ED-83BD-90A825301B33}"/>
                </c:ext>
              </c:extLst>
            </c:dLbl>
            <c:dLbl>
              <c:idx val="20"/>
              <c:layout>
                <c:manualLayout>
                  <c:x val="0"/>
                  <c:y val="-0.11557478721519789"/>
                </c:manualLayout>
              </c:layout>
              <c:tx>
                <c:rich>
                  <a:bodyPr/>
                  <a:lstStyle/>
                  <a:p>
                    <a:fld id="{3770BD2C-98F8-421F-8B16-2AD1D5EDB46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8A1C-40ED-83BD-90A825301B33}"/>
                </c:ext>
              </c:extLst>
            </c:dLbl>
            <c:dLbl>
              <c:idx val="21"/>
              <c:layout>
                <c:manualLayout>
                  <c:x val="-9.5553154477917207E-2"/>
                  <c:y val="-0.16933050219901086"/>
                </c:manualLayout>
              </c:layout>
              <c:tx>
                <c:rich>
                  <a:bodyPr/>
                  <a:lstStyle/>
                  <a:p>
                    <a:fld id="{83A4B972-6455-4C45-9A7B-3953EA35EEB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8A1C-40ED-83BD-90A825301B33}"/>
                </c:ext>
              </c:extLst>
            </c:dLbl>
            <c:dLbl>
              <c:idx val="22"/>
              <c:layout>
                <c:manualLayout>
                  <c:x val="-4.7776577238958604E-2"/>
                  <c:y val="5.3755714983812972E-2"/>
                </c:manualLayout>
              </c:layout>
              <c:tx>
                <c:rich>
                  <a:bodyPr/>
                  <a:lstStyle/>
                  <a:p>
                    <a:fld id="{03003679-FC29-49AE-87B1-3C494B0B2CDF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57373607310154"/>
                      <c:h val="9.667965339838761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8A1C-40ED-83BD-90A825301B33}"/>
                </c:ext>
              </c:extLst>
            </c:dLbl>
            <c:dLbl>
              <c:idx val="23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7FFC3EC8-CCBD-4B36-9AF0-9C59D0243EAF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8A1C-40ED-83BD-90A825301B33}"/>
                </c:ext>
              </c:extLst>
            </c:dLbl>
            <c:dLbl>
              <c:idx val="24"/>
              <c:layout>
                <c:manualLayout>
                  <c:x val="-9.6762688078903501E-3"/>
                  <c:y val="-2.687785749190651E-2"/>
                </c:manualLayout>
              </c:layout>
              <c:tx>
                <c:rich>
                  <a:bodyPr/>
                  <a:lstStyle/>
                  <a:p>
                    <a:fld id="{E06583B6-10F9-4AE8-AC5A-2F3380B7FC47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8A1C-40ED-83BD-90A825301B33}"/>
                </c:ext>
              </c:extLst>
            </c:dLbl>
            <c:dLbl>
              <c:idx val="25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6E8B0876-D06D-4E8A-918B-CF9D2EC5DACE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8A1C-40ED-83BD-90A825301B33}"/>
                </c:ext>
              </c:extLst>
            </c:dLbl>
            <c:dLbl>
              <c:idx val="26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88C05329-638C-462E-95CF-57316958FBAC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8A1C-40ED-83BD-90A825301B33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fld id="{340E8494-A74E-478D-9366-1C845060D000}" type="CELLRANGE">
                      <a:rPr lang="ru-KZ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8A1C-40ED-83BD-90A825301B33}"/>
                </c:ext>
              </c:extLst>
            </c:dLbl>
            <c:dLbl>
              <c:idx val="28"/>
              <c:layout>
                <c:manualLayout>
                  <c:x val="-7.2572016059177624E-2"/>
                  <c:y val="-5.9131286482194269E-2"/>
                </c:manualLayout>
              </c:layout>
              <c:tx>
                <c:rich>
                  <a:bodyPr/>
                  <a:lstStyle/>
                  <a:p>
                    <a:fld id="{AB7313D4-2AD3-4881-AC05-74115BC47B41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515969414990503"/>
                      <c:h val="9.667965339838761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8A1C-40ED-83BD-90A825301B33}"/>
                </c:ext>
              </c:extLst>
            </c:dLbl>
            <c:dLbl>
              <c:idx val="29"/>
              <c:layout>
                <c:manualLayout>
                  <c:x val="-0.12458191328215523"/>
                  <c:y val="3.4941320557815014E-2"/>
                </c:manualLayout>
              </c:layout>
              <c:tx>
                <c:rich>
                  <a:bodyPr/>
                  <a:lstStyle/>
                  <a:p>
                    <a:fld id="{6F3E1DC6-C502-4B6D-94CD-405C18097E3E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289429962052072"/>
                      <c:h val="8.5928510401625025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8A1C-40ED-83BD-90A825301B33}"/>
                </c:ext>
              </c:extLst>
            </c:dLbl>
            <c:dLbl>
              <c:idx val="30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F07F1950-A211-48EE-8C86-DD64B1CC366C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8A1C-40ED-83BD-90A825301B33}"/>
                </c:ext>
              </c:extLst>
            </c:dLbl>
            <c:dLbl>
              <c:idx val="31"/>
              <c:layout>
                <c:manualLayout>
                  <c:x val="-7.2571539864846523E-3"/>
                  <c:y val="2.6877857491906486E-2"/>
                </c:manualLayout>
              </c:layout>
              <c:tx>
                <c:rich>
                  <a:bodyPr/>
                  <a:lstStyle/>
                  <a:p>
                    <a:fld id="{A49B6270-C48E-4854-9C74-863B0DF407D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4237920021257309E-2"/>
                      <c:h val="8.055293890324373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8A1C-40ED-83BD-90A825301B33}"/>
                </c:ext>
              </c:extLst>
            </c:dLbl>
            <c:dLbl>
              <c:idx val="32"/>
              <c:tx>
                <c:rich>
                  <a:bodyPr/>
                  <a:lstStyle/>
                  <a:p>
                    <a:fld id="{A7D856ED-6B99-4E72-A8A4-681B484CAF77}" type="CELLRANGE">
                      <a:rPr lang="ru-KZ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8A1C-40ED-83BD-90A825301B33}"/>
                </c:ext>
              </c:extLst>
            </c:dLbl>
            <c:dLbl>
              <c:idx val="33"/>
              <c:layout>
                <c:manualLayout>
                  <c:x val="-3.1447921245076747E-2"/>
                  <c:y val="-3.4941214739478525E-2"/>
                </c:manualLayout>
              </c:layout>
              <c:tx>
                <c:rich>
                  <a:bodyPr/>
                  <a:lstStyle/>
                  <a:p>
                    <a:fld id="{CA5EE7E9-05E4-41F4-9377-4704F5066966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4643475685279339E-2"/>
                      <c:h val="5.367508141133724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C-8A1C-40ED-83BD-90A825301B33}"/>
                </c:ext>
              </c:extLst>
            </c:dLbl>
            <c:dLbl>
              <c:idx val="34"/>
              <c:layout>
                <c:manualLayout>
                  <c:x val="-6.0476680049315569E-3"/>
                  <c:y val="1.3438928745953144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B82FBA3A-7CDB-4736-89A7-1803B8BDF4CA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8A1C-40ED-83BD-90A825301B33}"/>
                </c:ext>
              </c:extLst>
            </c:dLbl>
            <c:dLbl>
              <c:idx val="35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3A64DD06-DA55-4E85-8396-44EB6F5B7B91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E-8A1C-40ED-83BD-90A825301B33}"/>
                </c:ext>
              </c:extLst>
            </c:dLbl>
            <c:dLbl>
              <c:idx val="36"/>
              <c:layout>
                <c:manualLayout>
                  <c:x val="-6.4105280852273572E-2"/>
                  <c:y val="-2.9565643241097159E-2"/>
                </c:manualLayout>
              </c:layout>
              <c:tx>
                <c:rich>
                  <a:bodyPr/>
                  <a:lstStyle/>
                  <a:p>
                    <a:fld id="{3CA8A6E6-8FCD-4360-8753-0C0DE59C8489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8A1C-40ED-83BD-90A825301B33}"/>
                </c:ext>
              </c:extLst>
            </c:dLbl>
            <c:dLbl>
              <c:idx val="37"/>
              <c:layout>
                <c:manualLayout>
                  <c:x val="-6.6524348054246243E-2"/>
                  <c:y val="-1.881450024433454E-2"/>
                </c:manualLayout>
              </c:layout>
              <c:tx>
                <c:rich>
                  <a:bodyPr/>
                  <a:lstStyle/>
                  <a:p>
                    <a:fld id="{F30295C1-FAAF-4D52-8229-C4ED5F6B284F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8A1C-40ED-83BD-90A825301B33}"/>
                </c:ext>
              </c:extLst>
            </c:dLbl>
            <c:dLbl>
              <c:idx val="38"/>
              <c:layout>
                <c:manualLayout>
                  <c:x val="4.8381344039451751E-3"/>
                  <c:y val="-4.5692357736241022E-2"/>
                </c:manualLayout>
              </c:layout>
              <c:tx>
                <c:rich>
                  <a:bodyPr/>
                  <a:lstStyle/>
                  <a:p>
                    <a:fld id="{7AA64F02-0FFE-45A8-AE05-66BC26B25056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8A1C-40ED-83BD-90A825301B33}"/>
                </c:ext>
              </c:extLst>
            </c:dLbl>
            <c:dLbl>
              <c:idx val="39"/>
              <c:layout>
                <c:manualLayout>
                  <c:x val="-2.4190672019725875E-3"/>
                  <c:y val="1.3438928745953243E-2"/>
                </c:manualLayout>
              </c:layout>
              <c:tx>
                <c:rich>
                  <a:bodyPr/>
                  <a:lstStyle/>
                  <a:p>
                    <a:fld id="{89C6E781-6A45-420E-B7FC-7293338FBD9F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8A1C-40ED-83BD-90A825301B33}"/>
                </c:ext>
              </c:extLst>
            </c:dLbl>
            <c:dLbl>
              <c:idx val="40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8C0A4280-4DE1-4648-9C09-A26D62B07AF1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3-8A1C-40ED-83BD-90A825301B33}"/>
                </c:ext>
              </c:extLst>
            </c:dLbl>
            <c:dLbl>
              <c:idx val="41"/>
              <c:layout>
                <c:manualLayout>
                  <c:x val="-8.4667352069040733E-2"/>
                  <c:y val="-0.12632593021196051"/>
                </c:manualLayout>
              </c:layout>
              <c:tx>
                <c:rich>
                  <a:bodyPr/>
                  <a:lstStyle/>
                  <a:p>
                    <a:fld id="{9E638725-A918-43B7-BCA3-DAA6F8AB01AF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8A1C-40ED-83BD-90A825301B33}"/>
                </c:ext>
              </c:extLst>
            </c:dLbl>
            <c:dLbl>
              <c:idx val="42"/>
              <c:layout>
                <c:manualLayout>
                  <c:x val="-4.2333676034520276E-2"/>
                  <c:y val="-2.6877857491906486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70422485-B65E-4E82-B407-F37E6FCD1B49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5-8A1C-40ED-83BD-90A825301B33}"/>
                </c:ext>
              </c:extLst>
            </c:dLbl>
            <c:dLbl>
              <c:idx val="43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8C816AEC-45B5-464D-9B14-F1BA9D63B81C}" type="CELLRANGE">
                      <a:rPr lang="ru-KZ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6-8A1C-40ED-83BD-90A825301B33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fld id="{6881EAE2-2AA9-4DA9-B7CC-6CB882A8003D}" type="CELLRANGE">
                      <a:rPr lang="ru-KZ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7-8A1C-40ED-83BD-90A825301B33}"/>
                </c:ext>
              </c:extLst>
            </c:dLbl>
            <c:dLbl>
              <c:idx val="45"/>
              <c:layout>
                <c:manualLayout>
                  <c:x val="1.4231543779163927E-2"/>
                  <c:y val="8.8696929723291351E-2"/>
                </c:manualLayout>
              </c:layout>
              <c:tx>
                <c:rich>
                  <a:bodyPr/>
                  <a:lstStyle/>
                  <a:p>
                    <a:fld id="{A8D1A435-29B1-4D52-B6EB-1E37ACE88E5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8-8A1C-40ED-83BD-90A825301B33}"/>
                </c:ext>
              </c:extLst>
            </c:dLbl>
            <c:dLbl>
              <c:idx val="46"/>
              <c:layout>
                <c:manualLayout>
                  <c:x val="1.2095336009862938E-3"/>
                  <c:y val="0.1182625729643884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04040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6F51A398-7533-471E-A3C7-B7050FD3A883}" type="CELLRANGE">
                      <a:rPr lang="en-US"/>
                      <a:pPr>
                        <a:defRPr>
                          <a:solidFill>
                            <a:srgbClr val="404040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04040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9-8A1C-40ED-83BD-90A825301B33}"/>
                </c:ext>
              </c:extLst>
            </c:dLbl>
            <c:dLbl>
              <c:idx val="47"/>
              <c:layout>
                <c:manualLayout>
                  <c:x val="-4.6566996018539197E-2"/>
                  <c:y val="-5.6443500733003617E-2"/>
                </c:manualLayout>
              </c:layout>
              <c:tx>
                <c:rich>
                  <a:bodyPr/>
                  <a:lstStyle/>
                  <a:p>
                    <a:fld id="{C0BABEDA-D120-4CB6-A3AC-6DB6D12BD967}" type="CELLRANGE">
                      <a:rPr lang="en-US" dirty="0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067557689752725"/>
                      <c:h val="6.98017959064811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A-8A1C-40ED-83BD-90A825301B33}"/>
                </c:ext>
              </c:extLst>
            </c:dLbl>
            <c:dLbl>
              <c:idx val="48"/>
              <c:layout>
                <c:manualLayout>
                  <c:x val="0"/>
                  <c:y val="-7.7945786726528826E-2"/>
                </c:manualLayout>
              </c:layout>
              <c:tx>
                <c:rich>
                  <a:bodyPr/>
                  <a:lstStyle/>
                  <a:p>
                    <a:fld id="{F2E0E674-2776-40A5-A138-98CBFB155C4E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B-8A1C-40ED-83BD-90A825301B33}"/>
                </c:ext>
              </c:extLst>
            </c:dLbl>
            <c:dLbl>
              <c:idx val="49"/>
              <c:layout>
                <c:manualLayout>
                  <c:x val="-0.1330486961084924"/>
                  <c:y val="-0.17739385944658279"/>
                </c:manualLayout>
              </c:layout>
              <c:tx>
                <c:rich>
                  <a:bodyPr/>
                  <a:lstStyle/>
                  <a:p>
                    <a:fld id="{71197B67-6F96-4BD9-A247-99F6FBBF42C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C-8A1C-40ED-83BD-90A825301B33}"/>
                </c:ext>
              </c:extLst>
            </c:dLbl>
            <c:dLbl>
              <c:idx val="50"/>
              <c:layout>
                <c:manualLayout>
                  <c:x val="-1.4514403211835525E-2"/>
                  <c:y val="-2.9565643241097134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4AA52CDE-56F2-4F2B-8A84-7714F471FD14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D-8A1C-40ED-83BD-90A825301B33}"/>
                </c:ext>
              </c:extLst>
            </c:dLbl>
            <c:dLbl>
              <c:idx val="51"/>
              <c:layout>
                <c:manualLayout>
                  <c:x val="0"/>
                  <c:y val="3.494121473947838E-2"/>
                </c:manualLayout>
              </c:layout>
              <c:tx>
                <c:rich>
                  <a:bodyPr/>
                  <a:lstStyle/>
                  <a:p>
                    <a:fld id="{2BAE086A-F196-42AF-9D9C-DAFBFABA1F73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E-8A1C-40ED-83BD-90A825301B33}"/>
                </c:ext>
              </c:extLst>
            </c:dLbl>
            <c:dLbl>
              <c:idx val="52"/>
              <c:layout>
                <c:manualLayout>
                  <c:x val="0"/>
                  <c:y val="1.881450024433454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31C58999-53D8-42DF-932A-6B4993A67FF8}" type="CELLRANGE">
                      <a:rPr lang="en-US"/>
                      <a:pPr algn="ctr">
                        <a:defRPr lang="en-US"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F-8A1C-40ED-83BD-90A825301B33}"/>
                </c:ext>
              </c:extLst>
            </c:dLbl>
            <c:dLbl>
              <c:idx val="53"/>
              <c:layout>
                <c:manualLayout>
                  <c:x val="0"/>
                  <c:y val="-1.34389287459533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E5AEC71-0544-445C-97CB-969A7D61E2D2}" type="CELLRANGE">
                      <a:rPr lang="en-US" dirty="0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0-8A1C-40ED-83BD-90A825301B33}"/>
                </c:ext>
              </c:extLst>
            </c:dLbl>
            <c:dLbl>
              <c:idx val="5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1-8A1C-40ED-83BD-90A825301B33}"/>
                </c:ext>
              </c:extLst>
            </c:dLbl>
            <c:dLbl>
              <c:idx val="5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2-8A1C-40ED-83BD-90A825301B33}"/>
                </c:ext>
              </c:extLst>
            </c:dLbl>
            <c:dLbl>
              <c:idx val="56"/>
              <c:layout>
                <c:manualLayout>
                  <c:x val="-5.5638545645369596E-2"/>
                  <c:y val="4.0316786237859725E-2"/>
                </c:manualLayout>
              </c:layout>
              <c:tx>
                <c:rich>
                  <a:bodyPr/>
                  <a:lstStyle/>
                  <a:p>
                    <a:fld id="{19087949-C345-4D77-91F7-CED5613CBFE7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536743392684608"/>
                      <c:h val="6.98017959064811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3-8A1C-40ED-83BD-90A825301B33}"/>
                </c:ext>
              </c:extLst>
            </c:dLbl>
            <c:dLbl>
              <c:idx val="5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4-8A1C-40ED-83BD-90A825301B33}"/>
                </c:ext>
              </c:extLst>
            </c:dLbl>
            <c:dLbl>
              <c:idx val="5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5-8A1C-40ED-83BD-90A825301B33}"/>
                </c:ext>
              </c:extLst>
            </c:dLbl>
            <c:dLbl>
              <c:idx val="59"/>
              <c:layout>
                <c:manualLayout>
                  <c:x val="-1.9352537615780877E-2"/>
                  <c:y val="-9.9448072720053987E-2"/>
                </c:manualLayout>
              </c:layout>
              <c:tx>
                <c:rich>
                  <a:bodyPr/>
                  <a:lstStyle/>
                  <a:p>
                    <a:fld id="{8202146B-DB7B-494F-9897-1FBE20FB0A29}" type="CELLRANGE">
                      <a:rPr lang="fi-FI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6-8A1C-40ED-83BD-90A825301B33}"/>
                </c:ext>
              </c:extLst>
            </c:dLbl>
            <c:dLbl>
              <c:idx val="60"/>
              <c:layout>
                <c:manualLayout>
                  <c:x val="4.2333199840188292E-3"/>
                  <c:y val="-2.0158393118929963E-2"/>
                </c:manualLayout>
              </c:layout>
              <c:tx>
                <c:rich>
                  <a:bodyPr/>
                  <a:lstStyle/>
                  <a:p>
                    <a:fld id="{C1A0E996-ADEA-4B87-B2FB-52EFF0D5F5FC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625039345556605"/>
                      <c:h val="7.248958165567179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7-8A1C-40ED-83BD-90A825301B33}"/>
                </c:ext>
              </c:extLst>
            </c:dLbl>
            <c:dLbl>
              <c:idx val="6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8-8A1C-40ED-83BD-90A825301B33}"/>
                </c:ext>
              </c:extLst>
            </c:dLbl>
            <c:dLbl>
              <c:idx val="62"/>
              <c:layout>
                <c:manualLayout>
                  <c:x val="-3.8705075231561401E-2"/>
                  <c:y val="-4.3004571987050329E-2"/>
                </c:manualLayout>
              </c:layout>
              <c:tx>
                <c:rich>
                  <a:bodyPr/>
                  <a:lstStyle/>
                  <a:p>
                    <a:fld id="{9EE64BBD-BADA-4C89-AB15-C155BBCE4AA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9-8A1C-40ED-83BD-90A825301B33}"/>
                </c:ext>
              </c:extLst>
            </c:dLbl>
            <c:dLbl>
              <c:idx val="63"/>
              <c:layout>
                <c:manualLayout>
                  <c:x val="-6.7129114854739297E-2"/>
                  <c:y val="-3.7628894670332522E-2"/>
                </c:manualLayout>
              </c:layout>
              <c:tx>
                <c:rich>
                  <a:bodyPr/>
                  <a:lstStyle/>
                  <a:p>
                    <a:fld id="{4E694BF7-7A1F-40A3-B1BF-3C777CEEFB82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746276993670904"/>
                      <c:h val="8.3240724652434372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A-8A1C-40ED-83BD-90A825301B33}"/>
                </c:ext>
              </c:extLst>
            </c:dLbl>
            <c:dLbl>
              <c:idx val="6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B-8A1C-40ED-83BD-90A825301B33}"/>
                </c:ext>
              </c:extLst>
            </c:dLbl>
            <c:dLbl>
              <c:idx val="65"/>
              <c:layout>
                <c:manualLayout>
                  <c:x val="-1.2095336009862938E-3"/>
                  <c:y val="-6.4506857980575594E-2"/>
                </c:manualLayout>
              </c:layout>
              <c:tx>
                <c:rich>
                  <a:bodyPr/>
                  <a:lstStyle/>
                  <a:p>
                    <a:fld id="{301EBFCF-B3E9-4E22-85D6-7596ECECD790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C-8A1C-40ED-83BD-90A825301B33}"/>
                </c:ext>
              </c:extLst>
            </c:dLbl>
            <c:dLbl>
              <c:idx val="66"/>
              <c:layout>
                <c:manualLayout>
                  <c:x val="-3.7495541630575106E-2"/>
                  <c:y val="5.6443500733003617E-2"/>
                </c:manualLayout>
              </c:layout>
              <c:tx>
                <c:rich>
                  <a:bodyPr/>
                  <a:lstStyle/>
                  <a:p>
                    <a:fld id="{330BFA87-DC45-4AF3-BA24-C5BD3BB78FA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8A1C-40ED-83BD-90A825301B33}"/>
                </c:ext>
              </c:extLst>
            </c:dLbl>
            <c:dLbl>
              <c:idx val="67"/>
              <c:layout>
                <c:manualLayout>
                  <c:x val="1.4514403211835525E-2"/>
                  <c:y val="1.3438928745953243E-2"/>
                </c:manualLayout>
              </c:layout>
              <c:tx>
                <c:rich>
                  <a:bodyPr/>
                  <a:lstStyle/>
                  <a:p>
                    <a:fld id="{63138C84-9E52-4E6C-99B9-78943FC39FD4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8A1C-40ED-83BD-90A825301B33}"/>
                </c:ext>
              </c:extLst>
            </c:dLbl>
            <c:dLbl>
              <c:idx val="68"/>
              <c:layout>
                <c:manualLayout>
                  <c:x val="-0.14998216652230043"/>
                  <c:y val="-0.17470607369739216"/>
                </c:manualLayout>
              </c:layout>
              <c:tx>
                <c:rich>
                  <a:bodyPr/>
                  <a:lstStyle/>
                  <a:p>
                    <a:fld id="{3F461CFB-524F-4914-8CF4-CE7A05E11E1E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8A1C-40ED-83BD-90A825301B33}"/>
                </c:ext>
              </c:extLst>
            </c:dLbl>
            <c:dLbl>
              <c:idx val="69"/>
              <c:layout>
                <c:manualLayout>
                  <c:x val="2.4190672019725697E-2"/>
                  <c:y val="-2.9565643241097159E-2"/>
                </c:manualLayout>
              </c:layout>
              <c:tx>
                <c:rich>
                  <a:bodyPr/>
                  <a:lstStyle/>
                  <a:p>
                    <a:fld id="{E8FFF008-75A7-4151-A4D9-FDC367E116B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8A1C-40ED-83BD-90A825301B33}"/>
                </c:ext>
              </c:extLst>
            </c:dLbl>
            <c:dLbl>
              <c:idx val="70"/>
              <c:layout>
                <c:manualLayout>
                  <c:x val="-3.6286008029589698E-3"/>
                  <c:y val="3.2253428990287783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3F174A93-602D-46F9-BA44-A5C54DECEB49}" type="CELLRANGE">
                      <a:rPr lang="en-US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8A1C-40ED-83BD-90A825301B33}"/>
                </c:ext>
              </c:extLst>
            </c:dLbl>
            <c:dLbl>
              <c:idx val="71"/>
              <c:layout>
                <c:manualLayout>
                  <c:x val="2.5400205620711991E-2"/>
                  <c:y val="-2.1502285993525189E-2"/>
                </c:manualLayout>
              </c:layout>
              <c:tx>
                <c:rich>
                  <a:bodyPr/>
                  <a:lstStyle/>
                  <a:p>
                    <a:fld id="{65E4DBDA-2084-413A-8FD4-3916EC9B058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8A1C-40ED-83BD-90A825301B33}"/>
                </c:ext>
              </c:extLst>
            </c:dLbl>
            <c:dLbl>
              <c:idx val="7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3-8A1C-40ED-83BD-90A825301B33}"/>
                </c:ext>
              </c:extLst>
            </c:dLbl>
            <c:dLbl>
              <c:idx val="7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4-8A1C-40ED-83BD-90A825301B33}"/>
                </c:ext>
              </c:extLst>
            </c:dLbl>
            <c:dLbl>
              <c:idx val="74"/>
              <c:layout>
                <c:manualLayout>
                  <c:x val="-9.6762688078903591E-2"/>
                  <c:y val="-2.687785749190648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F2B55E4-536A-4D8F-B995-C8FDEFC3C76B}" type="CELLRANGE">
                      <a:rPr lang="en-US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8A1C-40ED-83BD-90A825301B33}"/>
                </c:ext>
              </c:extLst>
            </c:dLbl>
            <c:dLbl>
              <c:idx val="75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CCDD06F7-36F7-474E-9B48-B72E7F342000}" type="CELLRANGE">
                      <a:rPr lang="ru-KZ"/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6-8A1C-40ED-83BD-90A825301B33}"/>
                </c:ext>
              </c:extLst>
            </c:dLbl>
            <c:dLbl>
              <c:idx val="76"/>
              <c:layout>
                <c:manualLayout>
                  <c:x val="3.3321888796242635E-2"/>
                  <c:y val="-6.1819072231384914E-2"/>
                </c:manualLayout>
              </c:layout>
              <c:tx>
                <c:rich>
                  <a:bodyPr/>
                  <a:lstStyle/>
                  <a:p>
                    <a:fld id="{83B5BA49-F2A6-4154-AB30-4CBBB62D2DC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8A1C-40ED-83BD-90A825301B33}"/>
                </c:ext>
              </c:extLst>
            </c:dLbl>
            <c:dLbl>
              <c:idx val="7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8-8A1C-40ED-83BD-90A825301B33}"/>
                </c:ext>
              </c:extLst>
            </c:dLbl>
            <c:dLbl>
              <c:idx val="7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9-8A1C-40ED-83BD-90A825301B33}"/>
                </c:ext>
              </c:extLst>
            </c:dLbl>
            <c:dLbl>
              <c:idx val="79"/>
              <c:layout>
                <c:manualLayout>
                  <c:x val="-3.6286008029588813E-3"/>
                  <c:y val="-1.0751142996762594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08FC0324-F039-4719-9995-6EF54AF0904C}" type="CELLRANGE">
                      <a:rPr lang="en-US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8A1C-40ED-83BD-90A825301B33}"/>
                </c:ext>
              </c:extLst>
            </c:dLbl>
            <c:dLbl>
              <c:idx val="8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B945D750-3A5C-499F-942B-55EFBF6D6E41}" type="CELLRANGE">
                      <a:rPr lang="ru-KZ"/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6B-8A1C-40ED-83BD-90A825301B33}"/>
                </c:ext>
              </c:extLst>
            </c:dLbl>
            <c:dLbl>
              <c:idx val="8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C-8A1C-40ED-83BD-90A825301B33}"/>
                </c:ext>
              </c:extLst>
            </c:dLbl>
            <c:dLbl>
              <c:idx val="82"/>
              <c:layout>
                <c:manualLayout>
                  <c:x val="-3.3866940827616224E-2"/>
                  <c:y val="-5.6443500733003617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B418B249-1494-43DB-A968-20F220690B62}" type="CELLRANGE">
                      <a:rPr lang="en-US" dirty="0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8A1C-40ED-83BD-90A825301B33}"/>
                </c:ext>
              </c:extLst>
            </c:dLbl>
            <c:dLbl>
              <c:idx val="83"/>
              <c:layout>
                <c:manualLayout>
                  <c:x val="-9.6762688078903501E-3"/>
                  <c:y val="-0.16933050219901086"/>
                </c:manualLayout>
              </c:layout>
              <c:tx>
                <c:rich>
                  <a:bodyPr/>
                  <a:lstStyle/>
                  <a:p>
                    <a:fld id="{BA688238-50FE-492F-9F0B-3998A9EA769C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8A1C-40ED-83BD-90A825301B33}"/>
                </c:ext>
              </c:extLst>
            </c:dLbl>
            <c:dLbl>
              <c:idx val="84"/>
              <c:layout>
                <c:manualLayout>
                  <c:x val="-8.8295952871999442E-2"/>
                  <c:y val="2.9565643241097134E-2"/>
                </c:manualLayout>
              </c:layout>
              <c:tx>
                <c:rich>
                  <a:bodyPr/>
                  <a:lstStyle/>
                  <a:p>
                    <a:fld id="{B83E23D3-21C0-44CE-BAE2-9B3B3956668B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8A1C-40ED-83BD-90A825301B33}"/>
                </c:ext>
              </c:extLst>
            </c:dLbl>
            <c:dLbl>
              <c:idx val="85"/>
              <c:layout>
                <c:manualLayout>
                  <c:x val="-1.6933470413808112E-2"/>
                  <c:y val="-1.3438928745953243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EA2CA3E-7FC6-453C-8D77-B3C79DB171BA}" type="CELLRANGE">
                      <a:rPr lang="en-US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8A1C-40ED-83BD-90A825301B33}"/>
                </c:ext>
              </c:extLst>
            </c:dLbl>
            <c:dLbl>
              <c:idx val="86"/>
              <c:layout>
                <c:manualLayout>
                  <c:x val="-1.7739621218180881E-16"/>
                  <c:y val="1.3438928745953243E-2"/>
                </c:manualLayout>
              </c:layout>
              <c:tx>
                <c:rich>
                  <a:bodyPr/>
                  <a:lstStyle/>
                  <a:p>
                    <a:fld id="{6BBA8916-685F-4FDD-BAD5-11CF89B2F6BD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8A1C-40ED-83BD-90A825301B33}"/>
                </c:ext>
              </c:extLst>
            </c:dLbl>
            <c:dLbl>
              <c:idx val="87"/>
              <c:layout>
                <c:manualLayout>
                  <c:x val="-1.6933470413808112E-2"/>
                  <c:y val="-1.881450024433454E-2"/>
                </c:manualLayout>
              </c:layout>
              <c:tx>
                <c:rich>
                  <a:bodyPr/>
                  <a:lstStyle/>
                  <a:p>
                    <a:fld id="{AF8CB736-D0DC-4C71-A199-D96AC5571F67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8A1C-40ED-83BD-90A825301B33}"/>
                </c:ext>
              </c:extLst>
            </c:dLbl>
            <c:dLbl>
              <c:idx val="88"/>
              <c:layout>
                <c:manualLayout>
                  <c:x val="-8.7086419271013238E-2"/>
                  <c:y val="-6.7194643729766218E-2"/>
                </c:manualLayout>
              </c:layout>
              <c:tx>
                <c:rich>
                  <a:bodyPr/>
                  <a:lstStyle/>
                  <a:p>
                    <a:fld id="{C9B2091C-84CC-40E3-9A75-0A21F639F10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8A1C-40ED-83BD-90A825301B33}"/>
                </c:ext>
              </c:extLst>
            </c:dLbl>
            <c:dLbl>
              <c:idx val="89"/>
              <c:tx>
                <c:rich>
                  <a:bodyPr/>
                  <a:lstStyle/>
                  <a:p>
                    <a:fld id="{B73A22FE-E00E-4A10-9C16-831B5B6A80BE}" type="CELLRANGE">
                      <a:rPr lang="ru-KZ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74-8A1C-40ED-83BD-90A825301B33}"/>
                </c:ext>
              </c:extLst>
            </c:dLbl>
            <c:dLbl>
              <c:idx val="90"/>
              <c:layout>
                <c:manualLayout>
                  <c:x val="-1.2095336009864711E-3"/>
                  <c:y val="-7.525800097733816E-2"/>
                </c:manualLayout>
              </c:layout>
              <c:tx>
                <c:rich>
                  <a:bodyPr/>
                  <a:lstStyle/>
                  <a:p>
                    <a:fld id="{C93CAFCA-D04D-4AD5-ADEC-7DDC9895F6D5}" type="CELLRANGE">
                      <a:rPr lang="en-US"/>
                      <a:pPr/>
                      <a:t>[ДИАПАЗОН ЯЧЕЕК]</a:t>
                    </a:fld>
                    <a:endParaRPr lang="ru-K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8A1C-40ED-83BD-90A825301B33}"/>
                </c:ext>
              </c:extLst>
            </c:dLbl>
            <c:dLbl>
              <c:idx val="9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6-8A1C-40ED-83BD-90A825301B33}"/>
                </c:ext>
              </c:extLst>
            </c:dLbl>
            <c:dLbl>
              <c:idx val="92"/>
              <c:layout>
                <c:manualLayout>
                  <c:x val="-1.7739621218180881E-16"/>
                  <c:y val="1.881450024433443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rgbClr val="4BB5C8"/>
                        </a:solidFill>
                        <a:latin typeface="Montserrat" panose="00000500000000000000" pitchFamily="2" charset="-52"/>
                        <a:ea typeface="+mn-ea"/>
                        <a:cs typeface="Arial" panose="020B0604020202020204" pitchFamily="34" charset="0"/>
                      </a:defRPr>
                    </a:pPr>
                    <a:fld id="{59666C3C-C3EB-4952-BC3D-32CDC0159139}" type="CELLRANGE">
                      <a:rPr lang="en-US">
                        <a:solidFill>
                          <a:srgbClr val="4BB5C8"/>
                        </a:solidFill>
                      </a:rPr>
                      <a:pPr>
                        <a:defRPr>
                          <a:solidFill>
                            <a:srgbClr val="4BB5C8"/>
                          </a:solidFill>
                        </a:defRPr>
                      </a:pPr>
                      <a:t>[ДИАПАЗОН ЯЧЕЕК]</a:t>
                    </a:fld>
                    <a:endParaRPr lang="ru-K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rgbClr val="4BB5C8"/>
                      </a:solidFill>
                      <a:latin typeface="Montserrat" panose="00000500000000000000" pitchFamily="2" charset="-52"/>
                      <a:ea typeface="+mn-ea"/>
                      <a:cs typeface="Arial" panose="020B0604020202020204" pitchFamily="34" charset="0"/>
                    </a:defRPr>
                  </a:pPr>
                  <a:endParaRPr lang="ru-KZ"/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8A1C-40ED-83BD-90A825301B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xVal>
          <c:yVal>
            <c:numRef>
              <c:f>YTM!$T$3:$T$95</c:f>
              <c:numCache>
                <c:formatCode>0.00%</c:formatCode>
                <c:ptCount val="93"/>
                <c:pt idx="1">
                  <c:v>0.3</c:v>
                </c:pt>
                <c:pt idx="2">
                  <c:v>0.11</c:v>
                </c:pt>
                <c:pt idx="3">
                  <c:v>0.16500000000000001</c:v>
                </c:pt>
                <c:pt idx="4">
                  <c:v>0.23</c:v>
                </c:pt>
                <c:pt idx="5">
                  <c:v>0.1</c:v>
                </c:pt>
                <c:pt idx="6">
                  <c:v>0.23</c:v>
                </c:pt>
                <c:pt idx="7">
                  <c:v>0.05</c:v>
                </c:pt>
                <c:pt idx="8">
                  <c:v>0.10708968281701517</c:v>
                </c:pt>
                <c:pt idx="9">
                  <c:v>0.23261662265811645</c:v>
                </c:pt>
                <c:pt idx="10">
                  <c:v>0.23</c:v>
                </c:pt>
                <c:pt idx="11">
                  <c:v>0.23</c:v>
                </c:pt>
                <c:pt idx="12">
                  <c:v>0.14749999999999999</c:v>
                </c:pt>
                <c:pt idx="13">
                  <c:v>0.23</c:v>
                </c:pt>
                <c:pt idx="14">
                  <c:v>0.03</c:v>
                </c:pt>
                <c:pt idx="15">
                  <c:v>0.25</c:v>
                </c:pt>
                <c:pt idx="16">
                  <c:v>0.08</c:v>
                </c:pt>
                <c:pt idx="17">
                  <c:v>0.25</c:v>
                </c:pt>
                <c:pt idx="18">
                  <c:v>0.10098538335720175</c:v>
                </c:pt>
                <c:pt idx="19">
                  <c:v>0.1575</c:v>
                </c:pt>
                <c:pt idx="20">
                  <c:v>0.25</c:v>
                </c:pt>
                <c:pt idx="21">
                  <c:v>0.25</c:v>
                </c:pt>
                <c:pt idx="22">
                  <c:v>0.25</c:v>
                </c:pt>
                <c:pt idx="23">
                  <c:v>0.1</c:v>
                </c:pt>
                <c:pt idx="24">
                  <c:v>0.25</c:v>
                </c:pt>
                <c:pt idx="25">
                  <c:v>0.11882407043697367</c:v>
                </c:pt>
                <c:pt idx="26">
                  <c:v>6.9632028100458279E-2</c:v>
                </c:pt>
                <c:pt idx="27">
                  <c:v>0.1350413820501272</c:v>
                </c:pt>
                <c:pt idx="28">
                  <c:v>0.14749999999999999</c:v>
                </c:pt>
                <c:pt idx="29">
                  <c:v>0.25</c:v>
                </c:pt>
                <c:pt idx="30">
                  <c:v>0.105</c:v>
                </c:pt>
                <c:pt idx="31">
                  <c:v>0.25</c:v>
                </c:pt>
                <c:pt idx="32">
                  <c:v>0.2</c:v>
                </c:pt>
                <c:pt idx="33">
                  <c:v>0.155</c:v>
                </c:pt>
                <c:pt idx="34">
                  <c:v>8.6999999999999994E-2</c:v>
                </c:pt>
                <c:pt idx="35">
                  <c:v>4.1443496657078797E-2</c:v>
                </c:pt>
                <c:pt idx="36">
                  <c:v>0.25</c:v>
                </c:pt>
                <c:pt idx="37">
                  <c:v>0.23</c:v>
                </c:pt>
                <c:pt idx="38">
                  <c:v>0.25</c:v>
                </c:pt>
                <c:pt idx="39">
                  <c:v>0.22</c:v>
                </c:pt>
                <c:pt idx="40">
                  <c:v>6.25E-2</c:v>
                </c:pt>
                <c:pt idx="41">
                  <c:v>0.23</c:v>
                </c:pt>
                <c:pt idx="42">
                  <c:v>9.6879192164213396E-2</c:v>
                </c:pt>
                <c:pt idx="43">
                  <c:v>9.5000000000000001E-2</c:v>
                </c:pt>
                <c:pt idx="44">
                  <c:v>1.7999999999999999E-2</c:v>
                </c:pt>
                <c:pt idx="45">
                  <c:v>0.23</c:v>
                </c:pt>
                <c:pt idx="46">
                  <c:v>0.23</c:v>
                </c:pt>
                <c:pt idx="47">
                  <c:v>0.28000000000000003</c:v>
                </c:pt>
                <c:pt idx="48">
                  <c:v>0.25</c:v>
                </c:pt>
                <c:pt idx="49">
                  <c:v>0.25</c:v>
                </c:pt>
                <c:pt idx="50">
                  <c:v>0.1</c:v>
                </c:pt>
                <c:pt idx="51">
                  <c:v>0.25</c:v>
                </c:pt>
                <c:pt idx="52">
                  <c:v>7.0000000000000007E-2</c:v>
                </c:pt>
                <c:pt idx="53">
                  <c:v>7.4999999999999997E-2</c:v>
                </c:pt>
                <c:pt idx="54">
                  <c:v>7.6137969823025078E-2</c:v>
                </c:pt>
                <c:pt idx="55">
                  <c:v>7.6856251727510733E-2</c:v>
                </c:pt>
                <c:pt idx="56">
                  <c:v>4.9827898111867934E-2</c:v>
                </c:pt>
                <c:pt idx="57">
                  <c:v>4.9649822191849692E-2</c:v>
                </c:pt>
                <c:pt idx="58">
                  <c:v>5.053249717487094E-2</c:v>
                </c:pt>
                <c:pt idx="59">
                  <c:v>0.25</c:v>
                </c:pt>
                <c:pt idx="60">
                  <c:v>3.9764073206696122E-2</c:v>
                </c:pt>
                <c:pt idx="61">
                  <c:v>0.25</c:v>
                </c:pt>
                <c:pt idx="62">
                  <c:v>0.16250000000000001</c:v>
                </c:pt>
                <c:pt idx="63">
                  <c:v>0.25</c:v>
                </c:pt>
                <c:pt idx="64">
                  <c:v>0.25</c:v>
                </c:pt>
                <c:pt idx="65">
                  <c:v>0.25</c:v>
                </c:pt>
                <c:pt idx="66">
                  <c:v>0.25</c:v>
                </c:pt>
                <c:pt idx="67">
                  <c:v>0.25</c:v>
                </c:pt>
                <c:pt idx="68">
                  <c:v>0.25</c:v>
                </c:pt>
                <c:pt idx="69">
                  <c:v>0.28000000000000003</c:v>
                </c:pt>
                <c:pt idx="70">
                  <c:v>4.7140000000000001E-2</c:v>
                </c:pt>
                <c:pt idx="71">
                  <c:v>0.14249999999999999</c:v>
                </c:pt>
                <c:pt idx="72">
                  <c:v>0.25</c:v>
                </c:pt>
                <c:pt idx="73">
                  <c:v>0.14000000000000001</c:v>
                </c:pt>
                <c:pt idx="74">
                  <c:v>0.08</c:v>
                </c:pt>
                <c:pt idx="75">
                  <c:v>6.25E-2</c:v>
                </c:pt>
                <c:pt idx="76">
                  <c:v>0.25</c:v>
                </c:pt>
                <c:pt idx="77">
                  <c:v>0.14749999999999999</c:v>
                </c:pt>
                <c:pt idx="78">
                  <c:v>6.4443107240136757E-2</c:v>
                </c:pt>
                <c:pt idx="79">
                  <c:v>0</c:v>
                </c:pt>
                <c:pt idx="80">
                  <c:v>0.10005514011964338</c:v>
                </c:pt>
                <c:pt idx="81">
                  <c:v>0.25</c:v>
                </c:pt>
                <c:pt idx="82">
                  <c:v>1.0244754673912419E-4</c:v>
                </c:pt>
                <c:pt idx="83">
                  <c:v>0.25</c:v>
                </c:pt>
                <c:pt idx="84">
                  <c:v>0.17249999999999999</c:v>
                </c:pt>
                <c:pt idx="85">
                  <c:v>7.0000000000000007E-2</c:v>
                </c:pt>
                <c:pt idx="86">
                  <c:v>0.17249999999999999</c:v>
                </c:pt>
                <c:pt idx="87">
                  <c:v>0.17249999999999999</c:v>
                </c:pt>
                <c:pt idx="88">
                  <c:v>0.17249999999999999</c:v>
                </c:pt>
                <c:pt idx="89">
                  <c:v>0.23</c:v>
                </c:pt>
                <c:pt idx="90">
                  <c:v>0.17249999999999999</c:v>
                </c:pt>
                <c:pt idx="91">
                  <c:v>0.17249999999999999</c:v>
                </c:pt>
                <c:pt idx="92">
                  <c:v>0.1350000000000000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YTM!$P$3:$P$95</c15:f>
                <c15:dlblRangeCache>
                  <c:ptCount val="93"/>
                  <c:pt idx="1">
                    <c:v>Central Media Distribution (KZT)</c:v>
                  </c:pt>
                  <c:pt idx="2">
                    <c:v>Ferro Alloy Resources (USD)</c:v>
                  </c:pt>
                  <c:pt idx="3">
                    <c:v>FinBox (USD)</c:v>
                  </c:pt>
                  <c:pt idx="4">
                    <c:v>Headliner KZ (KZT)</c:v>
                  </c:pt>
                  <c:pt idx="5">
                    <c:v>Solva (USD)</c:v>
                  </c:pt>
                  <c:pt idx="6">
                    <c:v>River City (KZT)</c:v>
                  </c:pt>
                  <c:pt idx="7">
                    <c:v>Bolashaq Investments (USD)</c:v>
                  </c:pt>
                  <c:pt idx="8">
                    <c:v>Solva (USD)</c:v>
                  </c:pt>
                  <c:pt idx="9">
                    <c:v>BI-Development (KZT) </c:v>
                  </c:pt>
                  <c:pt idx="10">
                    <c:v>AlmaTauStroy (KZT)</c:v>
                  </c:pt>
                  <c:pt idx="11">
                    <c:v>MCC &amp; K (KZT)</c:v>
                  </c:pt>
                  <c:pt idx="12">
                    <c:v>Samruk-Kazyna (KZT)</c:v>
                  </c:pt>
                  <c:pt idx="13">
                    <c:v>BI Development Almaty (KZT)</c:v>
                  </c:pt>
                  <c:pt idx="14">
                    <c:v>Bank RBK (USD)</c:v>
                  </c:pt>
                  <c:pt idx="15">
                    <c:v>Olivia Story (KZT)</c:v>
                  </c:pt>
                  <c:pt idx="16">
                    <c:v>BI-Development (USD)</c:v>
                  </c:pt>
                  <c:pt idx="17">
                    <c:v>AlmaTau Construction (KZT)</c:v>
                  </c:pt>
                  <c:pt idx="18">
                    <c:v>CITIX Ltd. (USD)</c:v>
                  </c:pt>
                  <c:pt idx="19">
                    <c:v>Kcell (KZT)</c:v>
                  </c:pt>
                  <c:pt idx="20">
                    <c:v>Mergen Kurylys Astana (KZT)</c:v>
                  </c:pt>
                  <c:pt idx="21">
                    <c:v>Dostyk Kurylys Almaty (KZT)</c:v>
                  </c:pt>
                  <c:pt idx="22">
                    <c:v>Dostyk Kurylys Almaty (KZT)</c:v>
                  </c:pt>
                  <c:pt idx="23">
                    <c:v>Remwagon (USD)</c:v>
                  </c:pt>
                  <c:pt idx="24">
                    <c:v>Sapa Kurylys Stroy (KZT)</c:v>
                  </c:pt>
                  <c:pt idx="25">
                    <c:v>Jasyl Energy (USD)</c:v>
                  </c:pt>
                  <c:pt idx="26">
                    <c:v>Home Credit (USD)</c:v>
                  </c:pt>
                  <c:pt idx="27">
                    <c:v>Industrial Development Fund (KZT)</c:v>
                  </c:pt>
                  <c:pt idx="28">
                    <c:v>Samruk-Kazyna (KZT)</c:v>
                  </c:pt>
                  <c:pt idx="29">
                    <c:v>AlmaTau Construction (KZT)</c:v>
                  </c:pt>
                  <c:pt idx="30">
                    <c:v>Solva (USD)</c:v>
                  </c:pt>
                  <c:pt idx="31">
                    <c:v>Arya Stroy (KZT)</c:v>
                  </c:pt>
                  <c:pt idx="32">
                    <c:v>Modul Stal (KZT)</c:v>
                  </c:pt>
                  <c:pt idx="33">
                    <c:v>Kcell (KZT)</c:v>
                  </c:pt>
                  <c:pt idx="34">
                    <c:v>BI-Development (USD)</c:v>
                  </c:pt>
                  <c:pt idx="35">
                    <c:v>Bolashaq Investments (USD)</c:v>
                  </c:pt>
                  <c:pt idx="36">
                    <c:v>Alita Stroy (KZT)</c:v>
                  </c:pt>
                  <c:pt idx="37">
                    <c:v>Arnau-Tower (KZT)</c:v>
                  </c:pt>
                  <c:pt idx="38">
                    <c:v>AlmaTau Construction (KZT)</c:v>
                  </c:pt>
                  <c:pt idx="39">
                    <c:v>BIGlobal (KZT)</c:v>
                  </c:pt>
                  <c:pt idx="40">
                    <c:v>BSTD Bank (USD)</c:v>
                  </c:pt>
                  <c:pt idx="41">
                    <c:v>Zhaz Kurylys NS (KZT)</c:v>
                  </c:pt>
                  <c:pt idx="42">
                    <c:v>AltynGold (USD)</c:v>
                  </c:pt>
                  <c:pt idx="43">
                    <c:v>BI-Development (USD)</c:v>
                  </c:pt>
                  <c:pt idx="44">
                    <c:v>KTZh (KZT)</c:v>
                  </c:pt>
                  <c:pt idx="45">
                    <c:v>Grand Arnau (KZT)</c:v>
                  </c:pt>
                  <c:pt idx="46">
                    <c:v>Arnau Building (KZT)</c:v>
                  </c:pt>
                  <c:pt idx="47">
                    <c:v>System Telecom (KZT)</c:v>
                  </c:pt>
                  <c:pt idx="48">
                    <c:v>Olivia Story (KZT)</c:v>
                  </c:pt>
                  <c:pt idx="49">
                    <c:v>Merey Construction (KZT)</c:v>
                  </c:pt>
                  <c:pt idx="50">
                    <c:v>NDPP (USD)</c:v>
                  </c:pt>
                  <c:pt idx="51">
                    <c:v>Sapa Kurylys Stroy (KZT)</c:v>
                  </c:pt>
                  <c:pt idx="52">
                    <c:v>BCC Invest (USD)</c:v>
                  </c:pt>
                  <c:pt idx="53">
                    <c:v>BRBAPK (USD)</c:v>
                  </c:pt>
                  <c:pt idx="54">
                    <c:v>Bolashaq Investments (KZT)</c:v>
                  </c:pt>
                  <c:pt idx="55">
                    <c:v>Bolashaq Investments (KZT)</c:v>
                  </c:pt>
                  <c:pt idx="56">
                    <c:v>Bolashaq Investments (KZT)</c:v>
                  </c:pt>
                  <c:pt idx="57">
                    <c:v>Bolashaq Investments (KZT)</c:v>
                  </c:pt>
                  <c:pt idx="58">
                    <c:v>Bolashaq Investments (KZT)</c:v>
                  </c:pt>
                  <c:pt idx="59">
                    <c:v>Mergen Kurylys Astana II (KZT)</c:v>
                  </c:pt>
                  <c:pt idx="60">
                    <c:v>Bolashaq Investments (KZT)</c:v>
                  </c:pt>
                  <c:pt idx="61">
                    <c:v>Arya Stroy II (KZT)</c:v>
                  </c:pt>
                  <c:pt idx="62">
                    <c:v>Ekibastuz GRES-1 (KZT)</c:v>
                  </c:pt>
                  <c:pt idx="63">
                    <c:v>Golden Compass Jambyl (KZT)</c:v>
                  </c:pt>
                  <c:pt idx="64">
                    <c:v>Olivia Story II (KZT)</c:v>
                  </c:pt>
                  <c:pt idx="65">
                    <c:v>Arya Stroy II (KZT)</c:v>
                  </c:pt>
                  <c:pt idx="66">
                    <c:v>ARGO Stroy (KZT)</c:v>
                  </c:pt>
                  <c:pt idx="67">
                    <c:v>SK Sygys Construction (KZT)</c:v>
                  </c:pt>
                  <c:pt idx="68">
                    <c:v>Mangistauenergomontazhnaladka (KZT)</c:v>
                  </c:pt>
                  <c:pt idx="69">
                    <c:v>Data Telecom (KZT)</c:v>
                  </c:pt>
                  <c:pt idx="70">
                    <c:v>Ministry of Finance of the RK (USD)</c:v>
                  </c:pt>
                  <c:pt idx="71">
                    <c:v>Samruk-Kazyna (KZT)</c:v>
                  </c:pt>
                  <c:pt idx="72">
                    <c:v>Almaty Build Innovations (KZT)</c:v>
                  </c:pt>
                  <c:pt idx="73">
                    <c:v>r2p invest KZ SFC (EUR)</c:v>
                  </c:pt>
                  <c:pt idx="74">
                    <c:v>BI-Development (USD)</c:v>
                  </c:pt>
                  <c:pt idx="75">
                    <c:v>City Transportation Systems (USD)</c:v>
                  </c:pt>
                  <c:pt idx="76">
                    <c:v>ARGO Stroy (KZT)</c:v>
                  </c:pt>
                  <c:pt idx="77">
                    <c:v>Kcell (KZT)</c:v>
                  </c:pt>
                  <c:pt idx="78">
                    <c:v>Home Credit (USD)</c:v>
                  </c:pt>
                  <c:pt idx="79">
                    <c:v>Home Credit (USD)</c:v>
                  </c:pt>
                  <c:pt idx="80">
                    <c:v>Solva (USD)</c:v>
                  </c:pt>
                  <c:pt idx="81">
                    <c:v>Dostyk Kurylys Almaty (KZT)</c:v>
                  </c:pt>
                  <c:pt idx="82">
                    <c:v>Bolashaq Investments (USD)</c:v>
                  </c:pt>
                  <c:pt idx="83">
                    <c:v>Dostyk Kurylys Almaty (KZT)</c:v>
                  </c:pt>
                  <c:pt idx="84">
                    <c:v>BI Development Almaty (KZT)</c:v>
                  </c:pt>
                  <c:pt idx="85">
                    <c:v>​​Benkala Mining Company (USD)</c:v>
                  </c:pt>
                  <c:pt idx="86">
                    <c:v>NC 16 (KZT)</c:v>
                  </c:pt>
                  <c:pt idx="87">
                    <c:v>SK Akbulak (KZT)</c:v>
                  </c:pt>
                  <c:pt idx="88">
                    <c:v>MFO BI Finance (KZT)</c:v>
                  </c:pt>
                  <c:pt idx="89">
                    <c:v>Crystall (KZT)</c:v>
                  </c:pt>
                  <c:pt idx="90">
                    <c:v>Zhas NS (KZT)</c:v>
                  </c:pt>
                  <c:pt idx="91">
                    <c:v>SK Akbulak-2 (KZT)</c:v>
                  </c:pt>
                  <c:pt idx="92">
                    <c:v>Ferro Alloy Resources (USD)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8-8A1C-40ED-83BD-90A825301B33}"/>
            </c:ext>
          </c:extLst>
        </c:ser>
        <c:ser>
          <c:idx val="5"/>
          <c:order val="5"/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xVal>
          <c:yVal>
            <c:numRef>
              <c:f>YTM!$Y$3:$Y$95</c:f>
              <c:numCache>
                <c:formatCode>General</c:formatCode>
                <c:ptCount val="93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79-8A1C-40ED-83BD-90A825301B33}"/>
            </c:ext>
          </c:extLst>
        </c:ser>
        <c:ser>
          <c:idx val="6"/>
          <c:order val="6"/>
          <c:spPr>
            <a:ln w="25400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Arial" panose="020B0604020202020204" pitchFamily="34" charset="0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YTM!$O$3:$O$95</c:f>
              <c:numCache>
                <c:formatCode>[$-409]d\-mmm\-yy;@</c:formatCode>
                <c:ptCount val="93"/>
                <c:pt idx="0">
                  <c:v>45292</c:v>
                </c:pt>
                <c:pt idx="1">
                  <c:v>45310</c:v>
                </c:pt>
                <c:pt idx="2">
                  <c:v>45321</c:v>
                </c:pt>
                <c:pt idx="3">
                  <c:v>45321</c:v>
                </c:pt>
                <c:pt idx="4">
                  <c:v>45321</c:v>
                </c:pt>
                <c:pt idx="5">
                  <c:v>45328</c:v>
                </c:pt>
                <c:pt idx="6">
                  <c:v>45330</c:v>
                </c:pt>
                <c:pt idx="7">
                  <c:v>45336</c:v>
                </c:pt>
                <c:pt idx="8">
                  <c:v>45342</c:v>
                </c:pt>
                <c:pt idx="9">
                  <c:v>45348</c:v>
                </c:pt>
                <c:pt idx="10">
                  <c:v>45350</c:v>
                </c:pt>
                <c:pt idx="11">
                  <c:v>45351</c:v>
                </c:pt>
                <c:pt idx="12">
                  <c:v>45358</c:v>
                </c:pt>
                <c:pt idx="13">
                  <c:v>45362</c:v>
                </c:pt>
                <c:pt idx="14">
                  <c:v>45362</c:v>
                </c:pt>
                <c:pt idx="15">
                  <c:v>45366</c:v>
                </c:pt>
                <c:pt idx="16">
                  <c:v>45370</c:v>
                </c:pt>
                <c:pt idx="17">
                  <c:v>45378</c:v>
                </c:pt>
                <c:pt idx="18">
                  <c:v>45383</c:v>
                </c:pt>
                <c:pt idx="19">
                  <c:v>45387</c:v>
                </c:pt>
                <c:pt idx="20">
                  <c:v>45397</c:v>
                </c:pt>
                <c:pt idx="21">
                  <c:v>45397</c:v>
                </c:pt>
                <c:pt idx="22">
                  <c:v>45401</c:v>
                </c:pt>
                <c:pt idx="23">
                  <c:v>45404</c:v>
                </c:pt>
                <c:pt idx="24">
                  <c:v>45411</c:v>
                </c:pt>
                <c:pt idx="25">
                  <c:v>45414</c:v>
                </c:pt>
                <c:pt idx="26">
                  <c:v>45425</c:v>
                </c:pt>
                <c:pt idx="27">
                  <c:v>45432</c:v>
                </c:pt>
                <c:pt idx="28">
                  <c:v>45435</c:v>
                </c:pt>
                <c:pt idx="29">
                  <c:v>45439</c:v>
                </c:pt>
                <c:pt idx="30">
                  <c:v>45439</c:v>
                </c:pt>
                <c:pt idx="31">
                  <c:v>45440</c:v>
                </c:pt>
                <c:pt idx="32">
                  <c:v>45448</c:v>
                </c:pt>
                <c:pt idx="33">
                  <c:v>45450</c:v>
                </c:pt>
                <c:pt idx="34">
                  <c:v>45456</c:v>
                </c:pt>
                <c:pt idx="35">
                  <c:v>45457</c:v>
                </c:pt>
                <c:pt idx="36">
                  <c:v>45463</c:v>
                </c:pt>
                <c:pt idx="37">
                  <c:v>45470</c:v>
                </c:pt>
                <c:pt idx="38">
                  <c:v>45471</c:v>
                </c:pt>
                <c:pt idx="39">
                  <c:v>45471</c:v>
                </c:pt>
                <c:pt idx="40">
                  <c:v>45474</c:v>
                </c:pt>
                <c:pt idx="41">
                  <c:v>45474</c:v>
                </c:pt>
                <c:pt idx="42">
                  <c:v>45476</c:v>
                </c:pt>
                <c:pt idx="43">
                  <c:v>45482</c:v>
                </c:pt>
                <c:pt idx="44">
                  <c:v>45483</c:v>
                </c:pt>
                <c:pt idx="45">
                  <c:v>45483</c:v>
                </c:pt>
                <c:pt idx="46">
                  <c:v>45483</c:v>
                </c:pt>
                <c:pt idx="47">
                  <c:v>45489</c:v>
                </c:pt>
                <c:pt idx="48">
                  <c:v>45490</c:v>
                </c:pt>
                <c:pt idx="49">
                  <c:v>45491</c:v>
                </c:pt>
                <c:pt idx="50">
                  <c:v>45499</c:v>
                </c:pt>
                <c:pt idx="51">
                  <c:v>45503</c:v>
                </c:pt>
                <c:pt idx="52">
                  <c:v>45503</c:v>
                </c:pt>
                <c:pt idx="53">
                  <c:v>45505</c:v>
                </c:pt>
                <c:pt idx="54">
                  <c:v>45519</c:v>
                </c:pt>
                <c:pt idx="55">
                  <c:v>45519</c:v>
                </c:pt>
                <c:pt idx="56">
                  <c:v>45519</c:v>
                </c:pt>
                <c:pt idx="57">
                  <c:v>45519</c:v>
                </c:pt>
                <c:pt idx="58">
                  <c:v>45519</c:v>
                </c:pt>
                <c:pt idx="59">
                  <c:v>45526</c:v>
                </c:pt>
                <c:pt idx="60">
                  <c:v>45555</c:v>
                </c:pt>
                <c:pt idx="61">
                  <c:v>45559</c:v>
                </c:pt>
                <c:pt idx="62">
                  <c:v>45560</c:v>
                </c:pt>
                <c:pt idx="63">
                  <c:v>45561</c:v>
                </c:pt>
                <c:pt idx="64">
                  <c:v>45565</c:v>
                </c:pt>
                <c:pt idx="65">
                  <c:v>45565</c:v>
                </c:pt>
                <c:pt idx="66">
                  <c:v>45565</c:v>
                </c:pt>
                <c:pt idx="67">
                  <c:v>45569</c:v>
                </c:pt>
                <c:pt idx="68">
                  <c:v>45573</c:v>
                </c:pt>
                <c:pt idx="69">
                  <c:v>45573</c:v>
                </c:pt>
                <c:pt idx="70">
                  <c:v>45574</c:v>
                </c:pt>
                <c:pt idx="71">
                  <c:v>45575</c:v>
                </c:pt>
                <c:pt idx="72">
                  <c:v>45581</c:v>
                </c:pt>
                <c:pt idx="73">
                  <c:v>45583</c:v>
                </c:pt>
                <c:pt idx="74">
                  <c:v>45583</c:v>
                </c:pt>
                <c:pt idx="75">
                  <c:v>45583</c:v>
                </c:pt>
                <c:pt idx="76">
                  <c:v>45587</c:v>
                </c:pt>
                <c:pt idx="77">
                  <c:v>45589</c:v>
                </c:pt>
                <c:pt idx="78">
                  <c:v>45594</c:v>
                </c:pt>
                <c:pt idx="79">
                  <c:v>45594</c:v>
                </c:pt>
                <c:pt idx="80">
                  <c:v>45594</c:v>
                </c:pt>
                <c:pt idx="81">
                  <c:v>45595</c:v>
                </c:pt>
                <c:pt idx="82">
                  <c:v>45600</c:v>
                </c:pt>
                <c:pt idx="83">
                  <c:v>45603</c:v>
                </c:pt>
                <c:pt idx="84">
                  <c:v>45616</c:v>
                </c:pt>
                <c:pt idx="85">
                  <c:v>45618</c:v>
                </c:pt>
                <c:pt idx="86">
                  <c:v>45623</c:v>
                </c:pt>
                <c:pt idx="87">
                  <c:v>45623</c:v>
                </c:pt>
                <c:pt idx="88">
                  <c:v>45623</c:v>
                </c:pt>
                <c:pt idx="89">
                  <c:v>45623</c:v>
                </c:pt>
                <c:pt idx="90">
                  <c:v>45623</c:v>
                </c:pt>
                <c:pt idx="91">
                  <c:v>45624</c:v>
                </c:pt>
                <c:pt idx="92">
                  <c:v>45625</c:v>
                </c:pt>
              </c:numCache>
            </c:numRef>
          </c:xVal>
          <c:yVal>
            <c:numRef>
              <c:f>YTM!$Z$3:$Z$95</c:f>
              <c:numCache>
                <c:formatCode>General</c:formatCode>
                <c:ptCount val="93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7A-8A1C-40ED-83BD-90A825301B3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596359920"/>
        <c:axId val="746240895"/>
      </c:scatterChart>
      <c:dateAx>
        <c:axId val="596359920"/>
        <c:scaling>
          <c:orientation val="minMax"/>
          <c:min val="45292"/>
        </c:scaling>
        <c:delete val="1"/>
        <c:axPos val="b"/>
        <c:majorGridlines>
          <c:spPr>
            <a:ln w="158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[$-409]d\-mmm\-yy;@" sourceLinked="1"/>
        <c:majorTickMark val="out"/>
        <c:minorTickMark val="none"/>
        <c:tickLblPos val="nextTo"/>
        <c:crossAx val="746240895"/>
        <c:crosses val="autoZero"/>
        <c:auto val="1"/>
        <c:lblOffset val="100"/>
        <c:baseTimeUnit val="days"/>
        <c:majorUnit val="1"/>
        <c:majorTimeUnit val="months"/>
        <c:minorUnit val="1"/>
        <c:minorTimeUnit val="months"/>
      </c:dateAx>
      <c:valAx>
        <c:axId val="746240895"/>
        <c:scaling>
          <c:orientation val="minMax"/>
        </c:scaling>
        <c:delete val="0"/>
        <c:axPos val="l"/>
        <c:majorGridlines>
          <c:spPr>
            <a:ln w="158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ea typeface="+mn-ea"/>
                <a:cs typeface="Arial" panose="020B0604020202020204" pitchFamily="34" charset="0"/>
              </a:defRPr>
            </a:pPr>
            <a:endParaRPr lang="ru-KZ"/>
          </a:p>
        </c:txPr>
        <c:crossAx val="596359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002454"/>
            </a:solidFill>
          </c:spPr>
          <c:dPt>
            <c:idx val="0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E6-46E9-BAB0-31C99C4144BD}"/>
              </c:ext>
            </c:extLst>
          </c:dPt>
          <c:dPt>
            <c:idx val="1"/>
            <c:bubble3D val="0"/>
            <c:spPr>
              <a:solidFill>
                <a:srgbClr val="0075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E6-46E9-BAB0-31C99C4144BD}"/>
              </c:ext>
            </c:extLst>
          </c:dPt>
          <c:dPt>
            <c:idx val="2"/>
            <c:bubble3D val="0"/>
            <c:spPr>
              <a:solidFill>
                <a:srgbClr val="008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BE6-46E9-BAB0-31C99C4144BD}"/>
              </c:ext>
            </c:extLst>
          </c:dPt>
          <c:dPt>
            <c:idx val="3"/>
            <c:bubble3D val="0"/>
            <c:spPr>
              <a:solidFill>
                <a:srgbClr val="7CB5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BE6-46E9-BAB0-31C99C4144B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Local</c:v>
                </c:pt>
                <c:pt idx="1">
                  <c:v>Europe</c:v>
                </c:pt>
                <c:pt idx="2">
                  <c:v>China</c:v>
                </c:pt>
                <c:pt idx="3">
                  <c:v>UAE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28</c:v>
                </c:pt>
                <c:pt idx="1">
                  <c:v>16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BE6-46E9-BAB0-31C99C4144B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862282519433218E-2"/>
          <c:y val="5.4208008195226434E-2"/>
          <c:w val="0.92027543496113351"/>
          <c:h val="0.8915839836095471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 cap="rnd">
              <a:solidFill>
                <a:srgbClr val="26A6BD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86CA-493B-A967-33A4DAC61754}"/>
              </c:ext>
            </c:extLst>
          </c:dPt>
          <c:dLbls>
            <c:delete val="1"/>
          </c:dLbls>
          <c:cat>
            <c:numRef>
              <c:f>Sheet1!$A$5:$A$843</c:f>
              <c:numCache>
                <c:formatCode>m/d/yyyy</c:formatCode>
                <c:ptCount val="839"/>
                <c:pt idx="0">
                  <c:v>44378</c:v>
                </c:pt>
                <c:pt idx="1">
                  <c:v>44379</c:v>
                </c:pt>
                <c:pt idx="2">
                  <c:v>44384</c:v>
                </c:pt>
                <c:pt idx="3">
                  <c:v>44385</c:v>
                </c:pt>
                <c:pt idx="4">
                  <c:v>44386</c:v>
                </c:pt>
                <c:pt idx="5">
                  <c:v>44389</c:v>
                </c:pt>
                <c:pt idx="6">
                  <c:v>44390</c:v>
                </c:pt>
                <c:pt idx="7">
                  <c:v>44391</c:v>
                </c:pt>
                <c:pt idx="8">
                  <c:v>44392</c:v>
                </c:pt>
                <c:pt idx="9">
                  <c:v>44393</c:v>
                </c:pt>
                <c:pt idx="10">
                  <c:v>44396</c:v>
                </c:pt>
                <c:pt idx="11">
                  <c:v>44398</c:v>
                </c:pt>
                <c:pt idx="12">
                  <c:v>44399</c:v>
                </c:pt>
                <c:pt idx="13">
                  <c:v>44400</c:v>
                </c:pt>
                <c:pt idx="14">
                  <c:v>44403</c:v>
                </c:pt>
                <c:pt idx="15">
                  <c:v>44404</c:v>
                </c:pt>
                <c:pt idx="16">
                  <c:v>44405</c:v>
                </c:pt>
                <c:pt idx="17">
                  <c:v>44406</c:v>
                </c:pt>
                <c:pt idx="18">
                  <c:v>44407</c:v>
                </c:pt>
                <c:pt idx="19">
                  <c:v>44410</c:v>
                </c:pt>
                <c:pt idx="20">
                  <c:v>44411</c:v>
                </c:pt>
                <c:pt idx="21">
                  <c:v>44412</c:v>
                </c:pt>
                <c:pt idx="22">
                  <c:v>44413</c:v>
                </c:pt>
                <c:pt idx="23">
                  <c:v>44414</c:v>
                </c:pt>
                <c:pt idx="24">
                  <c:v>44417</c:v>
                </c:pt>
                <c:pt idx="25">
                  <c:v>44418</c:v>
                </c:pt>
                <c:pt idx="26">
                  <c:v>44419</c:v>
                </c:pt>
                <c:pt idx="27">
                  <c:v>44420</c:v>
                </c:pt>
                <c:pt idx="28">
                  <c:v>44421</c:v>
                </c:pt>
                <c:pt idx="29">
                  <c:v>44424</c:v>
                </c:pt>
                <c:pt idx="30">
                  <c:v>44425</c:v>
                </c:pt>
                <c:pt idx="31">
                  <c:v>44426</c:v>
                </c:pt>
                <c:pt idx="32">
                  <c:v>44427</c:v>
                </c:pt>
                <c:pt idx="33">
                  <c:v>44428</c:v>
                </c:pt>
                <c:pt idx="34">
                  <c:v>44431</c:v>
                </c:pt>
                <c:pt idx="35">
                  <c:v>44432</c:v>
                </c:pt>
                <c:pt idx="36">
                  <c:v>44433</c:v>
                </c:pt>
                <c:pt idx="37">
                  <c:v>44434</c:v>
                </c:pt>
                <c:pt idx="38">
                  <c:v>44435</c:v>
                </c:pt>
                <c:pt idx="39">
                  <c:v>44439</c:v>
                </c:pt>
                <c:pt idx="40">
                  <c:v>44440</c:v>
                </c:pt>
                <c:pt idx="41">
                  <c:v>44441</c:v>
                </c:pt>
                <c:pt idx="42">
                  <c:v>44442</c:v>
                </c:pt>
                <c:pt idx="43">
                  <c:v>44445</c:v>
                </c:pt>
                <c:pt idx="44">
                  <c:v>44446</c:v>
                </c:pt>
                <c:pt idx="45">
                  <c:v>44447</c:v>
                </c:pt>
                <c:pt idx="46">
                  <c:v>44448</c:v>
                </c:pt>
                <c:pt idx="47">
                  <c:v>44449</c:v>
                </c:pt>
                <c:pt idx="48">
                  <c:v>44452</c:v>
                </c:pt>
                <c:pt idx="49">
                  <c:v>44453</c:v>
                </c:pt>
                <c:pt idx="50">
                  <c:v>44454</c:v>
                </c:pt>
                <c:pt idx="51">
                  <c:v>44455</c:v>
                </c:pt>
                <c:pt idx="52">
                  <c:v>44456</c:v>
                </c:pt>
                <c:pt idx="53">
                  <c:v>44459</c:v>
                </c:pt>
                <c:pt idx="54">
                  <c:v>44460</c:v>
                </c:pt>
                <c:pt idx="55">
                  <c:v>44461</c:v>
                </c:pt>
                <c:pt idx="56">
                  <c:v>44462</c:v>
                </c:pt>
                <c:pt idx="57">
                  <c:v>44463</c:v>
                </c:pt>
                <c:pt idx="58">
                  <c:v>44466</c:v>
                </c:pt>
                <c:pt idx="59">
                  <c:v>44467</c:v>
                </c:pt>
                <c:pt idx="60">
                  <c:v>44468</c:v>
                </c:pt>
                <c:pt idx="61">
                  <c:v>44469</c:v>
                </c:pt>
                <c:pt idx="62">
                  <c:v>44470</c:v>
                </c:pt>
                <c:pt idx="63">
                  <c:v>44473</c:v>
                </c:pt>
                <c:pt idx="64">
                  <c:v>44474</c:v>
                </c:pt>
                <c:pt idx="65">
                  <c:v>44475</c:v>
                </c:pt>
                <c:pt idx="66">
                  <c:v>44476</c:v>
                </c:pt>
                <c:pt idx="67">
                  <c:v>44477</c:v>
                </c:pt>
                <c:pt idx="68">
                  <c:v>44480</c:v>
                </c:pt>
                <c:pt idx="69">
                  <c:v>44481</c:v>
                </c:pt>
                <c:pt idx="70">
                  <c:v>44482</c:v>
                </c:pt>
                <c:pt idx="71">
                  <c:v>44483</c:v>
                </c:pt>
                <c:pt idx="72">
                  <c:v>44484</c:v>
                </c:pt>
                <c:pt idx="73">
                  <c:v>44487</c:v>
                </c:pt>
                <c:pt idx="74">
                  <c:v>44488</c:v>
                </c:pt>
                <c:pt idx="75">
                  <c:v>44489</c:v>
                </c:pt>
                <c:pt idx="76">
                  <c:v>44490</c:v>
                </c:pt>
                <c:pt idx="77">
                  <c:v>44491</c:v>
                </c:pt>
                <c:pt idx="78">
                  <c:v>44494</c:v>
                </c:pt>
                <c:pt idx="79">
                  <c:v>44495</c:v>
                </c:pt>
                <c:pt idx="80">
                  <c:v>44496</c:v>
                </c:pt>
                <c:pt idx="81">
                  <c:v>44497</c:v>
                </c:pt>
                <c:pt idx="82">
                  <c:v>44498</c:v>
                </c:pt>
                <c:pt idx="83">
                  <c:v>44501</c:v>
                </c:pt>
                <c:pt idx="84">
                  <c:v>44502</c:v>
                </c:pt>
                <c:pt idx="85">
                  <c:v>44503</c:v>
                </c:pt>
                <c:pt idx="86">
                  <c:v>44504</c:v>
                </c:pt>
                <c:pt idx="87">
                  <c:v>44505</c:v>
                </c:pt>
                <c:pt idx="88">
                  <c:v>44508</c:v>
                </c:pt>
                <c:pt idx="89">
                  <c:v>44509</c:v>
                </c:pt>
                <c:pt idx="90">
                  <c:v>44510</c:v>
                </c:pt>
                <c:pt idx="91">
                  <c:v>44511</c:v>
                </c:pt>
                <c:pt idx="92">
                  <c:v>44512</c:v>
                </c:pt>
                <c:pt idx="93">
                  <c:v>44515</c:v>
                </c:pt>
                <c:pt idx="94">
                  <c:v>44516</c:v>
                </c:pt>
                <c:pt idx="95">
                  <c:v>44517</c:v>
                </c:pt>
                <c:pt idx="96">
                  <c:v>44518</c:v>
                </c:pt>
                <c:pt idx="97">
                  <c:v>44519</c:v>
                </c:pt>
                <c:pt idx="98">
                  <c:v>44522</c:v>
                </c:pt>
                <c:pt idx="99">
                  <c:v>44523</c:v>
                </c:pt>
                <c:pt idx="100">
                  <c:v>44524</c:v>
                </c:pt>
                <c:pt idx="101">
                  <c:v>44525</c:v>
                </c:pt>
                <c:pt idx="102">
                  <c:v>44526</c:v>
                </c:pt>
                <c:pt idx="103">
                  <c:v>44529</c:v>
                </c:pt>
                <c:pt idx="104">
                  <c:v>44530</c:v>
                </c:pt>
                <c:pt idx="105">
                  <c:v>44532</c:v>
                </c:pt>
                <c:pt idx="106">
                  <c:v>44533</c:v>
                </c:pt>
                <c:pt idx="107">
                  <c:v>44536</c:v>
                </c:pt>
                <c:pt idx="108">
                  <c:v>44537</c:v>
                </c:pt>
                <c:pt idx="109">
                  <c:v>44538</c:v>
                </c:pt>
                <c:pt idx="110">
                  <c:v>44539</c:v>
                </c:pt>
                <c:pt idx="111">
                  <c:v>44540</c:v>
                </c:pt>
                <c:pt idx="112">
                  <c:v>44543</c:v>
                </c:pt>
                <c:pt idx="113">
                  <c:v>44544</c:v>
                </c:pt>
                <c:pt idx="114">
                  <c:v>44545</c:v>
                </c:pt>
                <c:pt idx="115">
                  <c:v>44550</c:v>
                </c:pt>
                <c:pt idx="116">
                  <c:v>44551</c:v>
                </c:pt>
                <c:pt idx="117">
                  <c:v>44552</c:v>
                </c:pt>
                <c:pt idx="118">
                  <c:v>44553</c:v>
                </c:pt>
                <c:pt idx="119">
                  <c:v>44554</c:v>
                </c:pt>
                <c:pt idx="120">
                  <c:v>44557</c:v>
                </c:pt>
                <c:pt idx="121">
                  <c:v>44558</c:v>
                </c:pt>
                <c:pt idx="122">
                  <c:v>44559</c:v>
                </c:pt>
                <c:pt idx="123">
                  <c:v>44560</c:v>
                </c:pt>
                <c:pt idx="124">
                  <c:v>44561</c:v>
                </c:pt>
                <c:pt idx="125">
                  <c:v>44566</c:v>
                </c:pt>
                <c:pt idx="126">
                  <c:v>44571</c:v>
                </c:pt>
                <c:pt idx="127">
                  <c:v>44572</c:v>
                </c:pt>
                <c:pt idx="128">
                  <c:v>44573</c:v>
                </c:pt>
                <c:pt idx="129">
                  <c:v>44574</c:v>
                </c:pt>
                <c:pt idx="130">
                  <c:v>44575</c:v>
                </c:pt>
                <c:pt idx="131">
                  <c:v>44578</c:v>
                </c:pt>
                <c:pt idx="132">
                  <c:v>44579</c:v>
                </c:pt>
                <c:pt idx="133">
                  <c:v>44580</c:v>
                </c:pt>
                <c:pt idx="134">
                  <c:v>44581</c:v>
                </c:pt>
                <c:pt idx="135">
                  <c:v>44582</c:v>
                </c:pt>
                <c:pt idx="136">
                  <c:v>44585</c:v>
                </c:pt>
                <c:pt idx="137">
                  <c:v>44586</c:v>
                </c:pt>
                <c:pt idx="138">
                  <c:v>44587</c:v>
                </c:pt>
                <c:pt idx="139">
                  <c:v>44588</c:v>
                </c:pt>
                <c:pt idx="140">
                  <c:v>44589</c:v>
                </c:pt>
                <c:pt idx="141">
                  <c:v>44592</c:v>
                </c:pt>
                <c:pt idx="142">
                  <c:v>44593</c:v>
                </c:pt>
                <c:pt idx="143">
                  <c:v>44594</c:v>
                </c:pt>
                <c:pt idx="144">
                  <c:v>44595</c:v>
                </c:pt>
                <c:pt idx="145">
                  <c:v>44596</c:v>
                </c:pt>
                <c:pt idx="146">
                  <c:v>44599</c:v>
                </c:pt>
                <c:pt idx="147">
                  <c:v>44600</c:v>
                </c:pt>
                <c:pt idx="148">
                  <c:v>44601</c:v>
                </c:pt>
                <c:pt idx="149">
                  <c:v>44602</c:v>
                </c:pt>
                <c:pt idx="150">
                  <c:v>44603</c:v>
                </c:pt>
                <c:pt idx="151">
                  <c:v>44606</c:v>
                </c:pt>
                <c:pt idx="152">
                  <c:v>44607</c:v>
                </c:pt>
                <c:pt idx="153">
                  <c:v>44608</c:v>
                </c:pt>
                <c:pt idx="154">
                  <c:v>44609</c:v>
                </c:pt>
                <c:pt idx="155">
                  <c:v>44610</c:v>
                </c:pt>
                <c:pt idx="156">
                  <c:v>44613</c:v>
                </c:pt>
                <c:pt idx="157">
                  <c:v>44614</c:v>
                </c:pt>
                <c:pt idx="158">
                  <c:v>44615</c:v>
                </c:pt>
                <c:pt idx="159">
                  <c:v>44616</c:v>
                </c:pt>
                <c:pt idx="160">
                  <c:v>44617</c:v>
                </c:pt>
                <c:pt idx="161">
                  <c:v>44620</c:v>
                </c:pt>
                <c:pt idx="162">
                  <c:v>44621</c:v>
                </c:pt>
                <c:pt idx="163">
                  <c:v>44622</c:v>
                </c:pt>
                <c:pt idx="164">
                  <c:v>44623</c:v>
                </c:pt>
                <c:pt idx="165">
                  <c:v>44624</c:v>
                </c:pt>
                <c:pt idx="166">
                  <c:v>44629</c:v>
                </c:pt>
                <c:pt idx="167">
                  <c:v>44630</c:v>
                </c:pt>
                <c:pt idx="168">
                  <c:v>44631</c:v>
                </c:pt>
                <c:pt idx="169">
                  <c:v>44634</c:v>
                </c:pt>
                <c:pt idx="170">
                  <c:v>44635</c:v>
                </c:pt>
                <c:pt idx="171">
                  <c:v>44636</c:v>
                </c:pt>
                <c:pt idx="172">
                  <c:v>44637</c:v>
                </c:pt>
                <c:pt idx="173">
                  <c:v>44638</c:v>
                </c:pt>
                <c:pt idx="174">
                  <c:v>44644</c:v>
                </c:pt>
                <c:pt idx="175">
                  <c:v>44645</c:v>
                </c:pt>
                <c:pt idx="176">
                  <c:v>44648</c:v>
                </c:pt>
                <c:pt idx="177">
                  <c:v>44649</c:v>
                </c:pt>
                <c:pt idx="178">
                  <c:v>44650</c:v>
                </c:pt>
                <c:pt idx="179">
                  <c:v>44651</c:v>
                </c:pt>
                <c:pt idx="180">
                  <c:v>44652</c:v>
                </c:pt>
                <c:pt idx="181">
                  <c:v>44655</c:v>
                </c:pt>
                <c:pt idx="182">
                  <c:v>44656</c:v>
                </c:pt>
                <c:pt idx="183">
                  <c:v>44657</c:v>
                </c:pt>
                <c:pt idx="184">
                  <c:v>44658</c:v>
                </c:pt>
                <c:pt idx="185">
                  <c:v>44659</c:v>
                </c:pt>
                <c:pt idx="186">
                  <c:v>44662</c:v>
                </c:pt>
                <c:pt idx="187">
                  <c:v>44663</c:v>
                </c:pt>
                <c:pt idx="188">
                  <c:v>44664</c:v>
                </c:pt>
                <c:pt idx="189">
                  <c:v>44665</c:v>
                </c:pt>
                <c:pt idx="190">
                  <c:v>44666</c:v>
                </c:pt>
                <c:pt idx="191">
                  <c:v>44669</c:v>
                </c:pt>
                <c:pt idx="192">
                  <c:v>44670</c:v>
                </c:pt>
                <c:pt idx="193">
                  <c:v>44671</c:v>
                </c:pt>
                <c:pt idx="194">
                  <c:v>44672</c:v>
                </c:pt>
                <c:pt idx="195">
                  <c:v>44673</c:v>
                </c:pt>
                <c:pt idx="196">
                  <c:v>44676</c:v>
                </c:pt>
                <c:pt idx="197">
                  <c:v>44677</c:v>
                </c:pt>
                <c:pt idx="198">
                  <c:v>44678</c:v>
                </c:pt>
                <c:pt idx="199">
                  <c:v>44679</c:v>
                </c:pt>
                <c:pt idx="200">
                  <c:v>44680</c:v>
                </c:pt>
                <c:pt idx="201">
                  <c:v>44684</c:v>
                </c:pt>
                <c:pt idx="202">
                  <c:v>44685</c:v>
                </c:pt>
                <c:pt idx="203">
                  <c:v>44686</c:v>
                </c:pt>
                <c:pt idx="204">
                  <c:v>44687</c:v>
                </c:pt>
                <c:pt idx="205">
                  <c:v>44692</c:v>
                </c:pt>
                <c:pt idx="206">
                  <c:v>44693</c:v>
                </c:pt>
                <c:pt idx="207">
                  <c:v>44694</c:v>
                </c:pt>
                <c:pt idx="208">
                  <c:v>44697</c:v>
                </c:pt>
                <c:pt idx="209">
                  <c:v>44698</c:v>
                </c:pt>
                <c:pt idx="210">
                  <c:v>44699</c:v>
                </c:pt>
                <c:pt idx="211">
                  <c:v>44700</c:v>
                </c:pt>
                <c:pt idx="212">
                  <c:v>44701</c:v>
                </c:pt>
                <c:pt idx="213">
                  <c:v>44704</c:v>
                </c:pt>
                <c:pt idx="214">
                  <c:v>44705</c:v>
                </c:pt>
                <c:pt idx="215">
                  <c:v>44706</c:v>
                </c:pt>
                <c:pt idx="216">
                  <c:v>44707</c:v>
                </c:pt>
                <c:pt idx="217">
                  <c:v>44708</c:v>
                </c:pt>
                <c:pt idx="218">
                  <c:v>44711</c:v>
                </c:pt>
                <c:pt idx="219">
                  <c:v>44712</c:v>
                </c:pt>
                <c:pt idx="220">
                  <c:v>44713</c:v>
                </c:pt>
                <c:pt idx="221">
                  <c:v>44714</c:v>
                </c:pt>
                <c:pt idx="222">
                  <c:v>44715</c:v>
                </c:pt>
                <c:pt idx="223">
                  <c:v>44718</c:v>
                </c:pt>
                <c:pt idx="224">
                  <c:v>44719</c:v>
                </c:pt>
                <c:pt idx="225">
                  <c:v>44720</c:v>
                </c:pt>
                <c:pt idx="226">
                  <c:v>44721</c:v>
                </c:pt>
                <c:pt idx="227">
                  <c:v>44722</c:v>
                </c:pt>
                <c:pt idx="228">
                  <c:v>44725</c:v>
                </c:pt>
                <c:pt idx="229">
                  <c:v>44726</c:v>
                </c:pt>
                <c:pt idx="230">
                  <c:v>44727</c:v>
                </c:pt>
                <c:pt idx="231">
                  <c:v>44728</c:v>
                </c:pt>
                <c:pt idx="232">
                  <c:v>44729</c:v>
                </c:pt>
                <c:pt idx="233">
                  <c:v>44732</c:v>
                </c:pt>
                <c:pt idx="234">
                  <c:v>44733</c:v>
                </c:pt>
                <c:pt idx="235">
                  <c:v>44734</c:v>
                </c:pt>
                <c:pt idx="236">
                  <c:v>44735</c:v>
                </c:pt>
                <c:pt idx="237">
                  <c:v>44736</c:v>
                </c:pt>
                <c:pt idx="238">
                  <c:v>44739</c:v>
                </c:pt>
                <c:pt idx="239">
                  <c:v>44740</c:v>
                </c:pt>
                <c:pt idx="240">
                  <c:v>44741</c:v>
                </c:pt>
                <c:pt idx="241">
                  <c:v>44742</c:v>
                </c:pt>
                <c:pt idx="242">
                  <c:v>44743</c:v>
                </c:pt>
                <c:pt idx="243">
                  <c:v>44746</c:v>
                </c:pt>
                <c:pt idx="244">
                  <c:v>44747</c:v>
                </c:pt>
                <c:pt idx="245">
                  <c:v>44749</c:v>
                </c:pt>
                <c:pt idx="246">
                  <c:v>44750</c:v>
                </c:pt>
                <c:pt idx="247">
                  <c:v>44753</c:v>
                </c:pt>
                <c:pt idx="248">
                  <c:v>44754</c:v>
                </c:pt>
                <c:pt idx="249">
                  <c:v>44755</c:v>
                </c:pt>
                <c:pt idx="250">
                  <c:v>44756</c:v>
                </c:pt>
                <c:pt idx="251">
                  <c:v>44757</c:v>
                </c:pt>
                <c:pt idx="252">
                  <c:v>44760</c:v>
                </c:pt>
                <c:pt idx="253">
                  <c:v>44761</c:v>
                </c:pt>
                <c:pt idx="254">
                  <c:v>44762</c:v>
                </c:pt>
                <c:pt idx="255">
                  <c:v>44763</c:v>
                </c:pt>
                <c:pt idx="256">
                  <c:v>44764</c:v>
                </c:pt>
                <c:pt idx="257">
                  <c:v>44767</c:v>
                </c:pt>
                <c:pt idx="258">
                  <c:v>44768</c:v>
                </c:pt>
                <c:pt idx="259">
                  <c:v>44769</c:v>
                </c:pt>
                <c:pt idx="260">
                  <c:v>44770</c:v>
                </c:pt>
                <c:pt idx="261">
                  <c:v>44771</c:v>
                </c:pt>
                <c:pt idx="262">
                  <c:v>44774</c:v>
                </c:pt>
                <c:pt idx="263">
                  <c:v>44775</c:v>
                </c:pt>
                <c:pt idx="264">
                  <c:v>44776</c:v>
                </c:pt>
                <c:pt idx="265">
                  <c:v>44777</c:v>
                </c:pt>
                <c:pt idx="266">
                  <c:v>44778</c:v>
                </c:pt>
                <c:pt idx="267">
                  <c:v>44781</c:v>
                </c:pt>
                <c:pt idx="268">
                  <c:v>44782</c:v>
                </c:pt>
                <c:pt idx="269">
                  <c:v>44783</c:v>
                </c:pt>
                <c:pt idx="270">
                  <c:v>44784</c:v>
                </c:pt>
                <c:pt idx="271">
                  <c:v>44785</c:v>
                </c:pt>
                <c:pt idx="272">
                  <c:v>44788</c:v>
                </c:pt>
                <c:pt idx="273">
                  <c:v>44789</c:v>
                </c:pt>
                <c:pt idx="274">
                  <c:v>44790</c:v>
                </c:pt>
                <c:pt idx="275">
                  <c:v>44791</c:v>
                </c:pt>
                <c:pt idx="276">
                  <c:v>44792</c:v>
                </c:pt>
                <c:pt idx="277">
                  <c:v>44795</c:v>
                </c:pt>
                <c:pt idx="278">
                  <c:v>44796</c:v>
                </c:pt>
                <c:pt idx="279">
                  <c:v>44797</c:v>
                </c:pt>
                <c:pt idx="280">
                  <c:v>44798</c:v>
                </c:pt>
                <c:pt idx="281">
                  <c:v>44799</c:v>
                </c:pt>
                <c:pt idx="282">
                  <c:v>44804</c:v>
                </c:pt>
                <c:pt idx="283">
                  <c:v>44805</c:v>
                </c:pt>
                <c:pt idx="284">
                  <c:v>44806</c:v>
                </c:pt>
                <c:pt idx="285">
                  <c:v>44809</c:v>
                </c:pt>
                <c:pt idx="286">
                  <c:v>44810</c:v>
                </c:pt>
                <c:pt idx="287">
                  <c:v>44811</c:v>
                </c:pt>
                <c:pt idx="288">
                  <c:v>44812</c:v>
                </c:pt>
                <c:pt idx="289">
                  <c:v>44813</c:v>
                </c:pt>
                <c:pt idx="290">
                  <c:v>44816</c:v>
                </c:pt>
                <c:pt idx="291">
                  <c:v>44817</c:v>
                </c:pt>
                <c:pt idx="292">
                  <c:v>44818</c:v>
                </c:pt>
                <c:pt idx="293">
                  <c:v>44819</c:v>
                </c:pt>
                <c:pt idx="294">
                  <c:v>44820</c:v>
                </c:pt>
                <c:pt idx="295">
                  <c:v>44823</c:v>
                </c:pt>
                <c:pt idx="296">
                  <c:v>44824</c:v>
                </c:pt>
                <c:pt idx="297">
                  <c:v>44825</c:v>
                </c:pt>
                <c:pt idx="298">
                  <c:v>44826</c:v>
                </c:pt>
                <c:pt idx="299">
                  <c:v>44827</c:v>
                </c:pt>
                <c:pt idx="300">
                  <c:v>44830</c:v>
                </c:pt>
                <c:pt idx="301">
                  <c:v>44831</c:v>
                </c:pt>
                <c:pt idx="302">
                  <c:v>44832</c:v>
                </c:pt>
                <c:pt idx="303">
                  <c:v>44833</c:v>
                </c:pt>
                <c:pt idx="304">
                  <c:v>44834</c:v>
                </c:pt>
                <c:pt idx="305">
                  <c:v>44837</c:v>
                </c:pt>
                <c:pt idx="306">
                  <c:v>44838</c:v>
                </c:pt>
                <c:pt idx="307">
                  <c:v>44839</c:v>
                </c:pt>
                <c:pt idx="308">
                  <c:v>44840</c:v>
                </c:pt>
                <c:pt idx="309">
                  <c:v>44841</c:v>
                </c:pt>
                <c:pt idx="310">
                  <c:v>44844</c:v>
                </c:pt>
                <c:pt idx="311">
                  <c:v>44845</c:v>
                </c:pt>
                <c:pt idx="312">
                  <c:v>44846</c:v>
                </c:pt>
                <c:pt idx="313">
                  <c:v>44847</c:v>
                </c:pt>
                <c:pt idx="314">
                  <c:v>44848</c:v>
                </c:pt>
                <c:pt idx="315">
                  <c:v>44851</c:v>
                </c:pt>
                <c:pt idx="316">
                  <c:v>44852</c:v>
                </c:pt>
                <c:pt idx="317">
                  <c:v>44853</c:v>
                </c:pt>
                <c:pt idx="318">
                  <c:v>44854</c:v>
                </c:pt>
                <c:pt idx="319">
                  <c:v>44855</c:v>
                </c:pt>
                <c:pt idx="320">
                  <c:v>44860</c:v>
                </c:pt>
                <c:pt idx="321">
                  <c:v>44861</c:v>
                </c:pt>
                <c:pt idx="322">
                  <c:v>44862</c:v>
                </c:pt>
                <c:pt idx="323">
                  <c:v>44865</c:v>
                </c:pt>
                <c:pt idx="324">
                  <c:v>44866</c:v>
                </c:pt>
                <c:pt idx="325">
                  <c:v>44867</c:v>
                </c:pt>
                <c:pt idx="326">
                  <c:v>44868</c:v>
                </c:pt>
                <c:pt idx="327">
                  <c:v>44869</c:v>
                </c:pt>
                <c:pt idx="328">
                  <c:v>44872</c:v>
                </c:pt>
                <c:pt idx="329">
                  <c:v>44873</c:v>
                </c:pt>
                <c:pt idx="330">
                  <c:v>44874</c:v>
                </c:pt>
                <c:pt idx="331">
                  <c:v>44875</c:v>
                </c:pt>
                <c:pt idx="332">
                  <c:v>44876</c:v>
                </c:pt>
                <c:pt idx="333">
                  <c:v>44879</c:v>
                </c:pt>
                <c:pt idx="334">
                  <c:v>44880</c:v>
                </c:pt>
                <c:pt idx="335">
                  <c:v>44881</c:v>
                </c:pt>
                <c:pt idx="336">
                  <c:v>44882</c:v>
                </c:pt>
                <c:pt idx="337">
                  <c:v>44883</c:v>
                </c:pt>
                <c:pt idx="338">
                  <c:v>44886</c:v>
                </c:pt>
                <c:pt idx="339">
                  <c:v>44887</c:v>
                </c:pt>
                <c:pt idx="340">
                  <c:v>44888</c:v>
                </c:pt>
                <c:pt idx="341">
                  <c:v>44889</c:v>
                </c:pt>
                <c:pt idx="342">
                  <c:v>44890</c:v>
                </c:pt>
                <c:pt idx="343">
                  <c:v>44893</c:v>
                </c:pt>
                <c:pt idx="344">
                  <c:v>44894</c:v>
                </c:pt>
                <c:pt idx="345">
                  <c:v>44895</c:v>
                </c:pt>
                <c:pt idx="346">
                  <c:v>44896</c:v>
                </c:pt>
                <c:pt idx="347">
                  <c:v>44897</c:v>
                </c:pt>
                <c:pt idx="348">
                  <c:v>44900</c:v>
                </c:pt>
                <c:pt idx="349">
                  <c:v>44901</c:v>
                </c:pt>
                <c:pt idx="350">
                  <c:v>44902</c:v>
                </c:pt>
                <c:pt idx="351">
                  <c:v>44903</c:v>
                </c:pt>
                <c:pt idx="352">
                  <c:v>44904</c:v>
                </c:pt>
                <c:pt idx="353">
                  <c:v>44907</c:v>
                </c:pt>
                <c:pt idx="354">
                  <c:v>44908</c:v>
                </c:pt>
                <c:pt idx="355">
                  <c:v>44909</c:v>
                </c:pt>
                <c:pt idx="356">
                  <c:v>44910</c:v>
                </c:pt>
                <c:pt idx="357">
                  <c:v>44914</c:v>
                </c:pt>
                <c:pt idx="358">
                  <c:v>44915</c:v>
                </c:pt>
                <c:pt idx="359">
                  <c:v>44916</c:v>
                </c:pt>
                <c:pt idx="360">
                  <c:v>44917</c:v>
                </c:pt>
                <c:pt idx="361">
                  <c:v>44918</c:v>
                </c:pt>
                <c:pt idx="362">
                  <c:v>44921</c:v>
                </c:pt>
                <c:pt idx="363">
                  <c:v>44922</c:v>
                </c:pt>
                <c:pt idx="364">
                  <c:v>44923</c:v>
                </c:pt>
                <c:pt idx="365">
                  <c:v>44924</c:v>
                </c:pt>
                <c:pt idx="366">
                  <c:v>44925</c:v>
                </c:pt>
                <c:pt idx="367">
                  <c:v>44930</c:v>
                </c:pt>
                <c:pt idx="368">
                  <c:v>44931</c:v>
                </c:pt>
                <c:pt idx="369">
                  <c:v>44932</c:v>
                </c:pt>
                <c:pt idx="370">
                  <c:v>44935</c:v>
                </c:pt>
                <c:pt idx="371">
                  <c:v>44936</c:v>
                </c:pt>
                <c:pt idx="372">
                  <c:v>44937</c:v>
                </c:pt>
                <c:pt idx="373">
                  <c:v>44938</c:v>
                </c:pt>
                <c:pt idx="374">
                  <c:v>44939</c:v>
                </c:pt>
                <c:pt idx="375">
                  <c:v>44942</c:v>
                </c:pt>
                <c:pt idx="376">
                  <c:v>44943</c:v>
                </c:pt>
                <c:pt idx="377">
                  <c:v>44944</c:v>
                </c:pt>
                <c:pt idx="378">
                  <c:v>44945</c:v>
                </c:pt>
                <c:pt idx="379">
                  <c:v>44946</c:v>
                </c:pt>
                <c:pt idx="380">
                  <c:v>44949</c:v>
                </c:pt>
                <c:pt idx="381">
                  <c:v>44950</c:v>
                </c:pt>
                <c:pt idx="382">
                  <c:v>44951</c:v>
                </c:pt>
                <c:pt idx="383">
                  <c:v>44952</c:v>
                </c:pt>
                <c:pt idx="384">
                  <c:v>44953</c:v>
                </c:pt>
                <c:pt idx="385">
                  <c:v>44956</c:v>
                </c:pt>
                <c:pt idx="386">
                  <c:v>44957</c:v>
                </c:pt>
                <c:pt idx="387">
                  <c:v>44958</c:v>
                </c:pt>
                <c:pt idx="388">
                  <c:v>44959</c:v>
                </c:pt>
                <c:pt idx="389">
                  <c:v>44960</c:v>
                </c:pt>
                <c:pt idx="390">
                  <c:v>44963</c:v>
                </c:pt>
                <c:pt idx="391">
                  <c:v>44964</c:v>
                </c:pt>
                <c:pt idx="392">
                  <c:v>44965</c:v>
                </c:pt>
                <c:pt idx="393">
                  <c:v>44966</c:v>
                </c:pt>
                <c:pt idx="394">
                  <c:v>44967</c:v>
                </c:pt>
                <c:pt idx="395">
                  <c:v>44970</c:v>
                </c:pt>
                <c:pt idx="396">
                  <c:v>44971</c:v>
                </c:pt>
                <c:pt idx="397">
                  <c:v>44972</c:v>
                </c:pt>
                <c:pt idx="398">
                  <c:v>44973</c:v>
                </c:pt>
                <c:pt idx="399">
                  <c:v>44974</c:v>
                </c:pt>
                <c:pt idx="400">
                  <c:v>44977</c:v>
                </c:pt>
                <c:pt idx="401">
                  <c:v>44978</c:v>
                </c:pt>
                <c:pt idx="402">
                  <c:v>44979</c:v>
                </c:pt>
                <c:pt idx="403">
                  <c:v>44980</c:v>
                </c:pt>
                <c:pt idx="404">
                  <c:v>44981</c:v>
                </c:pt>
                <c:pt idx="405">
                  <c:v>44984</c:v>
                </c:pt>
                <c:pt idx="406">
                  <c:v>44985</c:v>
                </c:pt>
                <c:pt idx="407">
                  <c:v>44986</c:v>
                </c:pt>
                <c:pt idx="408">
                  <c:v>44987</c:v>
                </c:pt>
                <c:pt idx="409">
                  <c:v>44988</c:v>
                </c:pt>
                <c:pt idx="410">
                  <c:v>44991</c:v>
                </c:pt>
                <c:pt idx="411">
                  <c:v>44992</c:v>
                </c:pt>
                <c:pt idx="412">
                  <c:v>44994</c:v>
                </c:pt>
                <c:pt idx="413">
                  <c:v>44995</c:v>
                </c:pt>
                <c:pt idx="414">
                  <c:v>44998</c:v>
                </c:pt>
                <c:pt idx="415">
                  <c:v>44999</c:v>
                </c:pt>
                <c:pt idx="416">
                  <c:v>45000</c:v>
                </c:pt>
                <c:pt idx="417">
                  <c:v>45001</c:v>
                </c:pt>
                <c:pt idx="418">
                  <c:v>45002</c:v>
                </c:pt>
                <c:pt idx="419">
                  <c:v>45005</c:v>
                </c:pt>
                <c:pt idx="420">
                  <c:v>45009</c:v>
                </c:pt>
                <c:pt idx="421">
                  <c:v>45012</c:v>
                </c:pt>
                <c:pt idx="422">
                  <c:v>45013</c:v>
                </c:pt>
                <c:pt idx="423">
                  <c:v>45014</c:v>
                </c:pt>
                <c:pt idx="424">
                  <c:v>45015</c:v>
                </c:pt>
                <c:pt idx="425">
                  <c:v>45016</c:v>
                </c:pt>
                <c:pt idx="426">
                  <c:v>45019</c:v>
                </c:pt>
                <c:pt idx="427">
                  <c:v>45020</c:v>
                </c:pt>
                <c:pt idx="428">
                  <c:v>45021</c:v>
                </c:pt>
                <c:pt idx="429">
                  <c:v>45022</c:v>
                </c:pt>
                <c:pt idx="430">
                  <c:v>45023</c:v>
                </c:pt>
                <c:pt idx="431">
                  <c:v>45026</c:v>
                </c:pt>
                <c:pt idx="432">
                  <c:v>45027</c:v>
                </c:pt>
                <c:pt idx="433">
                  <c:v>45028</c:v>
                </c:pt>
                <c:pt idx="434">
                  <c:v>45029</c:v>
                </c:pt>
                <c:pt idx="435">
                  <c:v>45030</c:v>
                </c:pt>
                <c:pt idx="436">
                  <c:v>45033</c:v>
                </c:pt>
                <c:pt idx="437">
                  <c:v>45034</c:v>
                </c:pt>
                <c:pt idx="438">
                  <c:v>45035</c:v>
                </c:pt>
                <c:pt idx="439">
                  <c:v>45036</c:v>
                </c:pt>
                <c:pt idx="440">
                  <c:v>45037</c:v>
                </c:pt>
                <c:pt idx="441">
                  <c:v>45040</c:v>
                </c:pt>
                <c:pt idx="442">
                  <c:v>45041</c:v>
                </c:pt>
                <c:pt idx="443">
                  <c:v>45042</c:v>
                </c:pt>
                <c:pt idx="444">
                  <c:v>45043</c:v>
                </c:pt>
                <c:pt idx="445">
                  <c:v>45044</c:v>
                </c:pt>
                <c:pt idx="446">
                  <c:v>45048</c:v>
                </c:pt>
                <c:pt idx="447">
                  <c:v>45049</c:v>
                </c:pt>
                <c:pt idx="448">
                  <c:v>45050</c:v>
                </c:pt>
                <c:pt idx="449">
                  <c:v>45051</c:v>
                </c:pt>
                <c:pt idx="450">
                  <c:v>45056</c:v>
                </c:pt>
                <c:pt idx="451">
                  <c:v>45057</c:v>
                </c:pt>
                <c:pt idx="452">
                  <c:v>45058</c:v>
                </c:pt>
                <c:pt idx="453">
                  <c:v>45061</c:v>
                </c:pt>
                <c:pt idx="454">
                  <c:v>45062</c:v>
                </c:pt>
                <c:pt idx="455">
                  <c:v>45063</c:v>
                </c:pt>
                <c:pt idx="456">
                  <c:v>45064</c:v>
                </c:pt>
                <c:pt idx="457">
                  <c:v>45065</c:v>
                </c:pt>
                <c:pt idx="458">
                  <c:v>45068</c:v>
                </c:pt>
                <c:pt idx="459">
                  <c:v>45069</c:v>
                </c:pt>
                <c:pt idx="460">
                  <c:v>45070</c:v>
                </c:pt>
                <c:pt idx="461">
                  <c:v>45071</c:v>
                </c:pt>
                <c:pt idx="462">
                  <c:v>45072</c:v>
                </c:pt>
                <c:pt idx="463">
                  <c:v>45075</c:v>
                </c:pt>
                <c:pt idx="464">
                  <c:v>45076</c:v>
                </c:pt>
                <c:pt idx="465">
                  <c:v>45077</c:v>
                </c:pt>
                <c:pt idx="466">
                  <c:v>45078</c:v>
                </c:pt>
                <c:pt idx="467">
                  <c:v>45079</c:v>
                </c:pt>
                <c:pt idx="468">
                  <c:v>45082</c:v>
                </c:pt>
                <c:pt idx="469">
                  <c:v>45083</c:v>
                </c:pt>
                <c:pt idx="470">
                  <c:v>45084</c:v>
                </c:pt>
                <c:pt idx="471">
                  <c:v>45085</c:v>
                </c:pt>
                <c:pt idx="472">
                  <c:v>45086</c:v>
                </c:pt>
                <c:pt idx="473">
                  <c:v>45089</c:v>
                </c:pt>
                <c:pt idx="474">
                  <c:v>45090</c:v>
                </c:pt>
                <c:pt idx="475">
                  <c:v>45091</c:v>
                </c:pt>
                <c:pt idx="476">
                  <c:v>45092</c:v>
                </c:pt>
                <c:pt idx="477">
                  <c:v>45093</c:v>
                </c:pt>
                <c:pt idx="478">
                  <c:v>45096</c:v>
                </c:pt>
                <c:pt idx="479">
                  <c:v>45097</c:v>
                </c:pt>
                <c:pt idx="480">
                  <c:v>45098</c:v>
                </c:pt>
                <c:pt idx="481">
                  <c:v>45099</c:v>
                </c:pt>
                <c:pt idx="482">
                  <c:v>45100</c:v>
                </c:pt>
                <c:pt idx="483">
                  <c:v>45103</c:v>
                </c:pt>
                <c:pt idx="484">
                  <c:v>45104</c:v>
                </c:pt>
                <c:pt idx="485">
                  <c:v>45106</c:v>
                </c:pt>
                <c:pt idx="486">
                  <c:v>45107</c:v>
                </c:pt>
                <c:pt idx="487">
                  <c:v>45110</c:v>
                </c:pt>
                <c:pt idx="488">
                  <c:v>45111</c:v>
                </c:pt>
                <c:pt idx="489">
                  <c:v>45112</c:v>
                </c:pt>
                <c:pt idx="490">
                  <c:v>45117</c:v>
                </c:pt>
                <c:pt idx="491">
                  <c:v>45118</c:v>
                </c:pt>
                <c:pt idx="492">
                  <c:v>45119</c:v>
                </c:pt>
                <c:pt idx="493">
                  <c:v>45120</c:v>
                </c:pt>
                <c:pt idx="494">
                  <c:v>45121</c:v>
                </c:pt>
                <c:pt idx="495">
                  <c:v>45124</c:v>
                </c:pt>
                <c:pt idx="496">
                  <c:v>45125</c:v>
                </c:pt>
                <c:pt idx="497">
                  <c:v>45126</c:v>
                </c:pt>
                <c:pt idx="498">
                  <c:v>45127</c:v>
                </c:pt>
                <c:pt idx="499">
                  <c:v>45128</c:v>
                </c:pt>
                <c:pt idx="500">
                  <c:v>45131</c:v>
                </c:pt>
                <c:pt idx="501">
                  <c:v>45132</c:v>
                </c:pt>
                <c:pt idx="502">
                  <c:v>45133</c:v>
                </c:pt>
                <c:pt idx="503">
                  <c:v>45134</c:v>
                </c:pt>
                <c:pt idx="504">
                  <c:v>45135</c:v>
                </c:pt>
                <c:pt idx="505">
                  <c:v>45138</c:v>
                </c:pt>
                <c:pt idx="506">
                  <c:v>45139</c:v>
                </c:pt>
                <c:pt idx="507">
                  <c:v>45140</c:v>
                </c:pt>
                <c:pt idx="508">
                  <c:v>45141</c:v>
                </c:pt>
                <c:pt idx="509">
                  <c:v>45142</c:v>
                </c:pt>
                <c:pt idx="510">
                  <c:v>45145</c:v>
                </c:pt>
                <c:pt idx="511">
                  <c:v>45146</c:v>
                </c:pt>
                <c:pt idx="512">
                  <c:v>45147</c:v>
                </c:pt>
                <c:pt idx="513">
                  <c:v>45148</c:v>
                </c:pt>
                <c:pt idx="514">
                  <c:v>45149</c:v>
                </c:pt>
                <c:pt idx="515">
                  <c:v>45152</c:v>
                </c:pt>
                <c:pt idx="516">
                  <c:v>45153</c:v>
                </c:pt>
                <c:pt idx="517">
                  <c:v>45154</c:v>
                </c:pt>
                <c:pt idx="518">
                  <c:v>45155</c:v>
                </c:pt>
                <c:pt idx="519">
                  <c:v>45156</c:v>
                </c:pt>
                <c:pt idx="520">
                  <c:v>45159</c:v>
                </c:pt>
                <c:pt idx="521">
                  <c:v>45160</c:v>
                </c:pt>
                <c:pt idx="522">
                  <c:v>45161</c:v>
                </c:pt>
                <c:pt idx="523">
                  <c:v>45162</c:v>
                </c:pt>
                <c:pt idx="524">
                  <c:v>45163</c:v>
                </c:pt>
                <c:pt idx="525">
                  <c:v>45166</c:v>
                </c:pt>
                <c:pt idx="526">
                  <c:v>45167</c:v>
                </c:pt>
                <c:pt idx="527">
                  <c:v>45169</c:v>
                </c:pt>
                <c:pt idx="528">
                  <c:v>45170</c:v>
                </c:pt>
                <c:pt idx="529">
                  <c:v>45173</c:v>
                </c:pt>
                <c:pt idx="530">
                  <c:v>45174</c:v>
                </c:pt>
                <c:pt idx="531">
                  <c:v>45175</c:v>
                </c:pt>
                <c:pt idx="532">
                  <c:v>45176</c:v>
                </c:pt>
                <c:pt idx="533">
                  <c:v>45177</c:v>
                </c:pt>
                <c:pt idx="534">
                  <c:v>45180</c:v>
                </c:pt>
                <c:pt idx="535">
                  <c:v>45181</c:v>
                </c:pt>
                <c:pt idx="536">
                  <c:v>45182</c:v>
                </c:pt>
                <c:pt idx="537">
                  <c:v>45183</c:v>
                </c:pt>
                <c:pt idx="538">
                  <c:v>45184</c:v>
                </c:pt>
                <c:pt idx="539">
                  <c:v>45187</c:v>
                </c:pt>
                <c:pt idx="540">
                  <c:v>45188</c:v>
                </c:pt>
                <c:pt idx="541">
                  <c:v>45189</c:v>
                </c:pt>
                <c:pt idx="542">
                  <c:v>45190</c:v>
                </c:pt>
                <c:pt idx="543">
                  <c:v>45191</c:v>
                </c:pt>
                <c:pt idx="544">
                  <c:v>45194</c:v>
                </c:pt>
                <c:pt idx="545">
                  <c:v>45195</c:v>
                </c:pt>
                <c:pt idx="546">
                  <c:v>45196</c:v>
                </c:pt>
                <c:pt idx="547">
                  <c:v>45197</c:v>
                </c:pt>
                <c:pt idx="548">
                  <c:v>45198</c:v>
                </c:pt>
                <c:pt idx="549">
                  <c:v>45201</c:v>
                </c:pt>
                <c:pt idx="550">
                  <c:v>45202</c:v>
                </c:pt>
                <c:pt idx="551">
                  <c:v>45203</c:v>
                </c:pt>
                <c:pt idx="552">
                  <c:v>45204</c:v>
                </c:pt>
                <c:pt idx="553">
                  <c:v>45205</c:v>
                </c:pt>
                <c:pt idx="554">
                  <c:v>45208</c:v>
                </c:pt>
                <c:pt idx="555">
                  <c:v>45209</c:v>
                </c:pt>
                <c:pt idx="556">
                  <c:v>45210</c:v>
                </c:pt>
                <c:pt idx="557">
                  <c:v>45211</c:v>
                </c:pt>
                <c:pt idx="558">
                  <c:v>45212</c:v>
                </c:pt>
                <c:pt idx="559">
                  <c:v>45215</c:v>
                </c:pt>
                <c:pt idx="560">
                  <c:v>45216</c:v>
                </c:pt>
                <c:pt idx="561">
                  <c:v>45217</c:v>
                </c:pt>
                <c:pt idx="562">
                  <c:v>45218</c:v>
                </c:pt>
                <c:pt idx="563">
                  <c:v>45219</c:v>
                </c:pt>
                <c:pt idx="564">
                  <c:v>45222</c:v>
                </c:pt>
                <c:pt idx="565">
                  <c:v>45223</c:v>
                </c:pt>
                <c:pt idx="566">
                  <c:v>45225</c:v>
                </c:pt>
                <c:pt idx="567">
                  <c:v>45226</c:v>
                </c:pt>
                <c:pt idx="568">
                  <c:v>45229</c:v>
                </c:pt>
                <c:pt idx="569">
                  <c:v>45230</c:v>
                </c:pt>
                <c:pt idx="570">
                  <c:v>45231</c:v>
                </c:pt>
                <c:pt idx="571">
                  <c:v>45232</c:v>
                </c:pt>
                <c:pt idx="572">
                  <c:v>45233</c:v>
                </c:pt>
                <c:pt idx="573">
                  <c:v>45236</c:v>
                </c:pt>
                <c:pt idx="574">
                  <c:v>45237</c:v>
                </c:pt>
                <c:pt idx="575">
                  <c:v>45238</c:v>
                </c:pt>
                <c:pt idx="576">
                  <c:v>45239</c:v>
                </c:pt>
                <c:pt idx="577">
                  <c:v>45240</c:v>
                </c:pt>
                <c:pt idx="578">
                  <c:v>45243</c:v>
                </c:pt>
                <c:pt idx="579">
                  <c:v>45244</c:v>
                </c:pt>
                <c:pt idx="580">
                  <c:v>45245</c:v>
                </c:pt>
                <c:pt idx="581">
                  <c:v>45246</c:v>
                </c:pt>
                <c:pt idx="582">
                  <c:v>45247</c:v>
                </c:pt>
                <c:pt idx="583">
                  <c:v>45250</c:v>
                </c:pt>
                <c:pt idx="584">
                  <c:v>45251</c:v>
                </c:pt>
                <c:pt idx="585">
                  <c:v>45252</c:v>
                </c:pt>
                <c:pt idx="586">
                  <c:v>45253</c:v>
                </c:pt>
                <c:pt idx="587">
                  <c:v>45254</c:v>
                </c:pt>
                <c:pt idx="588">
                  <c:v>45257</c:v>
                </c:pt>
                <c:pt idx="589">
                  <c:v>45258</c:v>
                </c:pt>
                <c:pt idx="590">
                  <c:v>45259</c:v>
                </c:pt>
                <c:pt idx="591">
                  <c:v>45260</c:v>
                </c:pt>
                <c:pt idx="592">
                  <c:v>45261</c:v>
                </c:pt>
                <c:pt idx="593">
                  <c:v>45264</c:v>
                </c:pt>
                <c:pt idx="594">
                  <c:v>45265</c:v>
                </c:pt>
                <c:pt idx="595">
                  <c:v>45266</c:v>
                </c:pt>
                <c:pt idx="596">
                  <c:v>45267</c:v>
                </c:pt>
                <c:pt idx="597">
                  <c:v>45268</c:v>
                </c:pt>
                <c:pt idx="598">
                  <c:v>45271</c:v>
                </c:pt>
                <c:pt idx="599">
                  <c:v>45272</c:v>
                </c:pt>
                <c:pt idx="600">
                  <c:v>45273</c:v>
                </c:pt>
                <c:pt idx="601">
                  <c:v>45274</c:v>
                </c:pt>
                <c:pt idx="602">
                  <c:v>45275</c:v>
                </c:pt>
                <c:pt idx="603">
                  <c:v>45279</c:v>
                </c:pt>
                <c:pt idx="604">
                  <c:v>45280</c:v>
                </c:pt>
                <c:pt idx="605">
                  <c:v>45281</c:v>
                </c:pt>
                <c:pt idx="606">
                  <c:v>45282</c:v>
                </c:pt>
                <c:pt idx="607">
                  <c:v>45285</c:v>
                </c:pt>
                <c:pt idx="608">
                  <c:v>45286</c:v>
                </c:pt>
                <c:pt idx="609">
                  <c:v>45287</c:v>
                </c:pt>
                <c:pt idx="610">
                  <c:v>45288</c:v>
                </c:pt>
                <c:pt idx="611">
                  <c:v>45289</c:v>
                </c:pt>
                <c:pt idx="612">
                  <c:v>45294</c:v>
                </c:pt>
                <c:pt idx="613">
                  <c:v>45295</c:v>
                </c:pt>
                <c:pt idx="614">
                  <c:v>45296</c:v>
                </c:pt>
                <c:pt idx="615">
                  <c:v>45299</c:v>
                </c:pt>
                <c:pt idx="616">
                  <c:v>45300</c:v>
                </c:pt>
                <c:pt idx="617">
                  <c:v>45301</c:v>
                </c:pt>
                <c:pt idx="618">
                  <c:v>45302</c:v>
                </c:pt>
                <c:pt idx="619">
                  <c:v>45303</c:v>
                </c:pt>
                <c:pt idx="620">
                  <c:v>45306</c:v>
                </c:pt>
                <c:pt idx="621">
                  <c:v>45307</c:v>
                </c:pt>
                <c:pt idx="622">
                  <c:v>45308</c:v>
                </c:pt>
                <c:pt idx="623">
                  <c:v>45309</c:v>
                </c:pt>
                <c:pt idx="624">
                  <c:v>45310</c:v>
                </c:pt>
                <c:pt idx="625">
                  <c:v>45313</c:v>
                </c:pt>
                <c:pt idx="626">
                  <c:v>45314</c:v>
                </c:pt>
                <c:pt idx="627">
                  <c:v>45315</c:v>
                </c:pt>
                <c:pt idx="628">
                  <c:v>45316</c:v>
                </c:pt>
                <c:pt idx="629">
                  <c:v>45317</c:v>
                </c:pt>
                <c:pt idx="630">
                  <c:v>45320</c:v>
                </c:pt>
                <c:pt idx="631">
                  <c:v>45321</c:v>
                </c:pt>
                <c:pt idx="632">
                  <c:v>45322</c:v>
                </c:pt>
                <c:pt idx="633">
                  <c:v>45323</c:v>
                </c:pt>
                <c:pt idx="634">
                  <c:v>45324</c:v>
                </c:pt>
                <c:pt idx="635">
                  <c:v>45327</c:v>
                </c:pt>
                <c:pt idx="636">
                  <c:v>45328</c:v>
                </c:pt>
                <c:pt idx="637">
                  <c:v>45329</c:v>
                </c:pt>
                <c:pt idx="638">
                  <c:v>45330</c:v>
                </c:pt>
                <c:pt idx="639">
                  <c:v>45331</c:v>
                </c:pt>
                <c:pt idx="640">
                  <c:v>45334</c:v>
                </c:pt>
                <c:pt idx="641">
                  <c:v>45335</c:v>
                </c:pt>
                <c:pt idx="642">
                  <c:v>45336</c:v>
                </c:pt>
                <c:pt idx="643">
                  <c:v>45337</c:v>
                </c:pt>
                <c:pt idx="644">
                  <c:v>45338</c:v>
                </c:pt>
                <c:pt idx="645">
                  <c:v>45341</c:v>
                </c:pt>
                <c:pt idx="646">
                  <c:v>45342</c:v>
                </c:pt>
                <c:pt idx="647">
                  <c:v>45343</c:v>
                </c:pt>
                <c:pt idx="648">
                  <c:v>45344</c:v>
                </c:pt>
                <c:pt idx="649">
                  <c:v>45345</c:v>
                </c:pt>
                <c:pt idx="650">
                  <c:v>45348</c:v>
                </c:pt>
                <c:pt idx="651">
                  <c:v>45349</c:v>
                </c:pt>
                <c:pt idx="652">
                  <c:v>45350</c:v>
                </c:pt>
                <c:pt idx="653">
                  <c:v>45351</c:v>
                </c:pt>
                <c:pt idx="654">
                  <c:v>45352</c:v>
                </c:pt>
                <c:pt idx="655">
                  <c:v>45355</c:v>
                </c:pt>
                <c:pt idx="656">
                  <c:v>45356</c:v>
                </c:pt>
                <c:pt idx="657">
                  <c:v>45357</c:v>
                </c:pt>
                <c:pt idx="658">
                  <c:v>45358</c:v>
                </c:pt>
                <c:pt idx="659">
                  <c:v>45362</c:v>
                </c:pt>
                <c:pt idx="660">
                  <c:v>45363</c:v>
                </c:pt>
                <c:pt idx="661">
                  <c:v>45364</c:v>
                </c:pt>
                <c:pt idx="662">
                  <c:v>45365</c:v>
                </c:pt>
                <c:pt idx="663">
                  <c:v>45366</c:v>
                </c:pt>
                <c:pt idx="664">
                  <c:v>45369</c:v>
                </c:pt>
                <c:pt idx="665">
                  <c:v>45370</c:v>
                </c:pt>
                <c:pt idx="666">
                  <c:v>45371</c:v>
                </c:pt>
                <c:pt idx="667">
                  <c:v>45377</c:v>
                </c:pt>
                <c:pt idx="668">
                  <c:v>45378</c:v>
                </c:pt>
                <c:pt idx="669">
                  <c:v>45379</c:v>
                </c:pt>
                <c:pt idx="670">
                  <c:v>45380</c:v>
                </c:pt>
                <c:pt idx="671">
                  <c:v>45383</c:v>
                </c:pt>
                <c:pt idx="672">
                  <c:v>45384</c:v>
                </c:pt>
                <c:pt idx="673">
                  <c:v>45385</c:v>
                </c:pt>
                <c:pt idx="674">
                  <c:v>45386</c:v>
                </c:pt>
                <c:pt idx="675">
                  <c:v>45387</c:v>
                </c:pt>
                <c:pt idx="676">
                  <c:v>45390</c:v>
                </c:pt>
                <c:pt idx="677">
                  <c:v>45391</c:v>
                </c:pt>
                <c:pt idx="678">
                  <c:v>45392</c:v>
                </c:pt>
                <c:pt idx="679">
                  <c:v>45393</c:v>
                </c:pt>
                <c:pt idx="680">
                  <c:v>45394</c:v>
                </c:pt>
                <c:pt idx="681">
                  <c:v>45397</c:v>
                </c:pt>
                <c:pt idx="682">
                  <c:v>45398</c:v>
                </c:pt>
                <c:pt idx="683">
                  <c:v>45399</c:v>
                </c:pt>
                <c:pt idx="684">
                  <c:v>45400</c:v>
                </c:pt>
                <c:pt idx="685">
                  <c:v>45401</c:v>
                </c:pt>
                <c:pt idx="686">
                  <c:v>45404</c:v>
                </c:pt>
                <c:pt idx="687">
                  <c:v>45405</c:v>
                </c:pt>
                <c:pt idx="688">
                  <c:v>45406</c:v>
                </c:pt>
                <c:pt idx="689">
                  <c:v>45407</c:v>
                </c:pt>
                <c:pt idx="690">
                  <c:v>45408</c:v>
                </c:pt>
                <c:pt idx="691">
                  <c:v>45411</c:v>
                </c:pt>
                <c:pt idx="692">
                  <c:v>45412</c:v>
                </c:pt>
                <c:pt idx="693">
                  <c:v>45414</c:v>
                </c:pt>
                <c:pt idx="694">
                  <c:v>45415</c:v>
                </c:pt>
                <c:pt idx="695">
                  <c:v>45418</c:v>
                </c:pt>
                <c:pt idx="696">
                  <c:v>45422</c:v>
                </c:pt>
                <c:pt idx="697">
                  <c:v>45425</c:v>
                </c:pt>
                <c:pt idx="698">
                  <c:v>45426</c:v>
                </c:pt>
                <c:pt idx="699">
                  <c:v>45427</c:v>
                </c:pt>
                <c:pt idx="700">
                  <c:v>45428</c:v>
                </c:pt>
                <c:pt idx="701">
                  <c:v>45429</c:v>
                </c:pt>
                <c:pt idx="702">
                  <c:v>45432</c:v>
                </c:pt>
                <c:pt idx="703">
                  <c:v>45433</c:v>
                </c:pt>
                <c:pt idx="704">
                  <c:v>45434</c:v>
                </c:pt>
                <c:pt idx="705">
                  <c:v>45435</c:v>
                </c:pt>
                <c:pt idx="706">
                  <c:v>45436</c:v>
                </c:pt>
                <c:pt idx="707">
                  <c:v>45439</c:v>
                </c:pt>
                <c:pt idx="708">
                  <c:v>45440</c:v>
                </c:pt>
                <c:pt idx="709">
                  <c:v>45441</c:v>
                </c:pt>
                <c:pt idx="710">
                  <c:v>45442</c:v>
                </c:pt>
                <c:pt idx="711">
                  <c:v>45443</c:v>
                </c:pt>
                <c:pt idx="712">
                  <c:v>45446</c:v>
                </c:pt>
                <c:pt idx="713">
                  <c:v>45447</c:v>
                </c:pt>
                <c:pt idx="714">
                  <c:v>45448</c:v>
                </c:pt>
                <c:pt idx="715">
                  <c:v>45449</c:v>
                </c:pt>
                <c:pt idx="716">
                  <c:v>45450</c:v>
                </c:pt>
                <c:pt idx="717">
                  <c:v>45453</c:v>
                </c:pt>
                <c:pt idx="718">
                  <c:v>45454</c:v>
                </c:pt>
                <c:pt idx="719">
                  <c:v>45455</c:v>
                </c:pt>
                <c:pt idx="720">
                  <c:v>45456</c:v>
                </c:pt>
                <c:pt idx="721">
                  <c:v>45457</c:v>
                </c:pt>
                <c:pt idx="722">
                  <c:v>45460</c:v>
                </c:pt>
                <c:pt idx="723">
                  <c:v>45461</c:v>
                </c:pt>
                <c:pt idx="724">
                  <c:v>45462</c:v>
                </c:pt>
                <c:pt idx="725">
                  <c:v>45463</c:v>
                </c:pt>
                <c:pt idx="726">
                  <c:v>45464</c:v>
                </c:pt>
                <c:pt idx="727">
                  <c:v>45467</c:v>
                </c:pt>
                <c:pt idx="728">
                  <c:v>45468</c:v>
                </c:pt>
                <c:pt idx="729">
                  <c:v>45469</c:v>
                </c:pt>
                <c:pt idx="730">
                  <c:v>45470</c:v>
                </c:pt>
                <c:pt idx="731">
                  <c:v>45471</c:v>
                </c:pt>
                <c:pt idx="732">
                  <c:v>45474</c:v>
                </c:pt>
                <c:pt idx="733">
                  <c:v>45475</c:v>
                </c:pt>
                <c:pt idx="734">
                  <c:v>45476</c:v>
                </c:pt>
                <c:pt idx="735">
                  <c:v>45477</c:v>
                </c:pt>
                <c:pt idx="736">
                  <c:v>45478</c:v>
                </c:pt>
                <c:pt idx="737">
                  <c:v>45482</c:v>
                </c:pt>
                <c:pt idx="738">
                  <c:v>45483</c:v>
                </c:pt>
                <c:pt idx="739">
                  <c:v>45484</c:v>
                </c:pt>
                <c:pt idx="740">
                  <c:v>45485</c:v>
                </c:pt>
                <c:pt idx="741">
                  <c:v>45488</c:v>
                </c:pt>
                <c:pt idx="742">
                  <c:v>45489</c:v>
                </c:pt>
                <c:pt idx="743">
                  <c:v>45490</c:v>
                </c:pt>
                <c:pt idx="744">
                  <c:v>45491</c:v>
                </c:pt>
                <c:pt idx="745">
                  <c:v>45492</c:v>
                </c:pt>
                <c:pt idx="746">
                  <c:v>45495</c:v>
                </c:pt>
                <c:pt idx="747">
                  <c:v>45496</c:v>
                </c:pt>
                <c:pt idx="748">
                  <c:v>45497</c:v>
                </c:pt>
                <c:pt idx="749">
                  <c:v>45498</c:v>
                </c:pt>
                <c:pt idx="750">
                  <c:v>45499</c:v>
                </c:pt>
                <c:pt idx="751">
                  <c:v>45502</c:v>
                </c:pt>
                <c:pt idx="752">
                  <c:v>45503</c:v>
                </c:pt>
                <c:pt idx="753">
                  <c:v>45504</c:v>
                </c:pt>
                <c:pt idx="754">
                  <c:v>45505</c:v>
                </c:pt>
                <c:pt idx="755">
                  <c:v>45506</c:v>
                </c:pt>
                <c:pt idx="756">
                  <c:v>45509</c:v>
                </c:pt>
                <c:pt idx="757">
                  <c:v>45510</c:v>
                </c:pt>
                <c:pt idx="758">
                  <c:v>45511</c:v>
                </c:pt>
                <c:pt idx="759">
                  <c:v>45512</c:v>
                </c:pt>
                <c:pt idx="760">
                  <c:v>45513</c:v>
                </c:pt>
                <c:pt idx="761">
                  <c:v>45516</c:v>
                </c:pt>
                <c:pt idx="762">
                  <c:v>45517</c:v>
                </c:pt>
                <c:pt idx="763">
                  <c:v>45518</c:v>
                </c:pt>
                <c:pt idx="764">
                  <c:v>45519</c:v>
                </c:pt>
                <c:pt idx="765">
                  <c:v>45520</c:v>
                </c:pt>
                <c:pt idx="766">
                  <c:v>45523</c:v>
                </c:pt>
                <c:pt idx="767">
                  <c:v>45524</c:v>
                </c:pt>
                <c:pt idx="768">
                  <c:v>45525</c:v>
                </c:pt>
                <c:pt idx="769">
                  <c:v>45526</c:v>
                </c:pt>
                <c:pt idx="770">
                  <c:v>45527</c:v>
                </c:pt>
                <c:pt idx="771">
                  <c:v>45530</c:v>
                </c:pt>
                <c:pt idx="772">
                  <c:v>45531</c:v>
                </c:pt>
                <c:pt idx="773">
                  <c:v>45532</c:v>
                </c:pt>
                <c:pt idx="774">
                  <c:v>45533</c:v>
                </c:pt>
                <c:pt idx="775">
                  <c:v>45537</c:v>
                </c:pt>
                <c:pt idx="776">
                  <c:v>45538</c:v>
                </c:pt>
                <c:pt idx="777">
                  <c:v>45539</c:v>
                </c:pt>
                <c:pt idx="778">
                  <c:v>45540</c:v>
                </c:pt>
                <c:pt idx="779">
                  <c:v>45541</c:v>
                </c:pt>
                <c:pt idx="780">
                  <c:v>45544</c:v>
                </c:pt>
                <c:pt idx="781">
                  <c:v>45545</c:v>
                </c:pt>
                <c:pt idx="782">
                  <c:v>45546</c:v>
                </c:pt>
                <c:pt idx="783">
                  <c:v>45547</c:v>
                </c:pt>
                <c:pt idx="784">
                  <c:v>45548</c:v>
                </c:pt>
                <c:pt idx="785">
                  <c:v>45551</c:v>
                </c:pt>
                <c:pt idx="786">
                  <c:v>45552</c:v>
                </c:pt>
                <c:pt idx="787">
                  <c:v>45553</c:v>
                </c:pt>
                <c:pt idx="788">
                  <c:v>45554</c:v>
                </c:pt>
                <c:pt idx="789">
                  <c:v>45555</c:v>
                </c:pt>
                <c:pt idx="790">
                  <c:v>45558</c:v>
                </c:pt>
                <c:pt idx="791">
                  <c:v>45559</c:v>
                </c:pt>
                <c:pt idx="792">
                  <c:v>45560</c:v>
                </c:pt>
                <c:pt idx="793">
                  <c:v>45561</c:v>
                </c:pt>
                <c:pt idx="794">
                  <c:v>45562</c:v>
                </c:pt>
                <c:pt idx="795">
                  <c:v>45565</c:v>
                </c:pt>
                <c:pt idx="796">
                  <c:v>45566</c:v>
                </c:pt>
                <c:pt idx="797">
                  <c:v>45567</c:v>
                </c:pt>
                <c:pt idx="798">
                  <c:v>45568</c:v>
                </c:pt>
                <c:pt idx="799">
                  <c:v>45569</c:v>
                </c:pt>
                <c:pt idx="800">
                  <c:v>45572</c:v>
                </c:pt>
                <c:pt idx="801">
                  <c:v>45573</c:v>
                </c:pt>
                <c:pt idx="802">
                  <c:v>45574</c:v>
                </c:pt>
                <c:pt idx="803">
                  <c:v>45575</c:v>
                </c:pt>
                <c:pt idx="804">
                  <c:v>45576</c:v>
                </c:pt>
                <c:pt idx="805">
                  <c:v>45579</c:v>
                </c:pt>
                <c:pt idx="806">
                  <c:v>45580</c:v>
                </c:pt>
                <c:pt idx="807">
                  <c:v>45581</c:v>
                </c:pt>
                <c:pt idx="808">
                  <c:v>45582</c:v>
                </c:pt>
                <c:pt idx="809">
                  <c:v>45583</c:v>
                </c:pt>
                <c:pt idx="810">
                  <c:v>45586</c:v>
                </c:pt>
                <c:pt idx="811">
                  <c:v>45587</c:v>
                </c:pt>
                <c:pt idx="812">
                  <c:v>45588</c:v>
                </c:pt>
                <c:pt idx="813">
                  <c:v>45589</c:v>
                </c:pt>
                <c:pt idx="814">
                  <c:v>45593</c:v>
                </c:pt>
                <c:pt idx="815">
                  <c:v>45594</c:v>
                </c:pt>
                <c:pt idx="816">
                  <c:v>45595</c:v>
                </c:pt>
                <c:pt idx="817">
                  <c:v>45596</c:v>
                </c:pt>
                <c:pt idx="818">
                  <c:v>45597</c:v>
                </c:pt>
                <c:pt idx="819">
                  <c:v>45600</c:v>
                </c:pt>
                <c:pt idx="820">
                  <c:v>45601</c:v>
                </c:pt>
                <c:pt idx="821">
                  <c:v>45602</c:v>
                </c:pt>
                <c:pt idx="822">
                  <c:v>45603</c:v>
                </c:pt>
                <c:pt idx="823">
                  <c:v>45604</c:v>
                </c:pt>
                <c:pt idx="824">
                  <c:v>45607</c:v>
                </c:pt>
                <c:pt idx="825">
                  <c:v>45608</c:v>
                </c:pt>
                <c:pt idx="826">
                  <c:v>45609</c:v>
                </c:pt>
                <c:pt idx="827">
                  <c:v>45610</c:v>
                </c:pt>
                <c:pt idx="828">
                  <c:v>45611</c:v>
                </c:pt>
                <c:pt idx="829">
                  <c:v>45614</c:v>
                </c:pt>
                <c:pt idx="830">
                  <c:v>45615</c:v>
                </c:pt>
                <c:pt idx="831">
                  <c:v>45616</c:v>
                </c:pt>
                <c:pt idx="832">
                  <c:v>45617</c:v>
                </c:pt>
                <c:pt idx="833">
                  <c:v>45618</c:v>
                </c:pt>
                <c:pt idx="834">
                  <c:v>45621</c:v>
                </c:pt>
                <c:pt idx="835">
                  <c:v>45622</c:v>
                </c:pt>
                <c:pt idx="836">
                  <c:v>45623</c:v>
                </c:pt>
                <c:pt idx="837">
                  <c:v>45624</c:v>
                </c:pt>
                <c:pt idx="838">
                  <c:v>45625</c:v>
                </c:pt>
              </c:numCache>
            </c:numRef>
          </c:cat>
          <c:val>
            <c:numRef>
              <c:f>Sheet1!$B$5:$B$843</c:f>
              <c:numCache>
                <c:formatCode>General</c:formatCode>
                <c:ptCount val="839"/>
                <c:pt idx="0">
                  <c:v>1000</c:v>
                </c:pt>
                <c:pt idx="1">
                  <c:v>1012.47</c:v>
                </c:pt>
                <c:pt idx="2">
                  <c:v>1001.88</c:v>
                </c:pt>
                <c:pt idx="3">
                  <c:v>994.92</c:v>
                </c:pt>
                <c:pt idx="4">
                  <c:v>996.71</c:v>
                </c:pt>
                <c:pt idx="5">
                  <c:v>986.96</c:v>
                </c:pt>
                <c:pt idx="6">
                  <c:v>989.89</c:v>
                </c:pt>
                <c:pt idx="7">
                  <c:v>986.46</c:v>
                </c:pt>
                <c:pt idx="8">
                  <c:v>996.82</c:v>
                </c:pt>
                <c:pt idx="9">
                  <c:v>983.38</c:v>
                </c:pt>
                <c:pt idx="10">
                  <c:v>960.99</c:v>
                </c:pt>
                <c:pt idx="11">
                  <c:v>969.84</c:v>
                </c:pt>
                <c:pt idx="12">
                  <c:v>971.16</c:v>
                </c:pt>
                <c:pt idx="13">
                  <c:v>968.72</c:v>
                </c:pt>
                <c:pt idx="14">
                  <c:v>992.3</c:v>
                </c:pt>
                <c:pt idx="15">
                  <c:v>986.89</c:v>
                </c:pt>
                <c:pt idx="16">
                  <c:v>1001.58</c:v>
                </c:pt>
                <c:pt idx="17">
                  <c:v>1008.15</c:v>
                </c:pt>
                <c:pt idx="18">
                  <c:v>993.33</c:v>
                </c:pt>
                <c:pt idx="19">
                  <c:v>1002.37</c:v>
                </c:pt>
                <c:pt idx="20">
                  <c:v>1001.19</c:v>
                </c:pt>
                <c:pt idx="21">
                  <c:v>995.4</c:v>
                </c:pt>
                <c:pt idx="22">
                  <c:v>1003.18</c:v>
                </c:pt>
                <c:pt idx="23">
                  <c:v>995.48</c:v>
                </c:pt>
                <c:pt idx="24">
                  <c:v>991.9</c:v>
                </c:pt>
                <c:pt idx="25">
                  <c:v>993.37</c:v>
                </c:pt>
                <c:pt idx="26">
                  <c:v>998.09</c:v>
                </c:pt>
                <c:pt idx="27">
                  <c:v>1001.7</c:v>
                </c:pt>
                <c:pt idx="28">
                  <c:v>1003.58</c:v>
                </c:pt>
                <c:pt idx="29">
                  <c:v>1003.78</c:v>
                </c:pt>
                <c:pt idx="30">
                  <c:v>993.21</c:v>
                </c:pt>
                <c:pt idx="31">
                  <c:v>988.4</c:v>
                </c:pt>
                <c:pt idx="32">
                  <c:v>983.34</c:v>
                </c:pt>
                <c:pt idx="33">
                  <c:v>979.11</c:v>
                </c:pt>
                <c:pt idx="34">
                  <c:v>1003.31</c:v>
                </c:pt>
                <c:pt idx="35">
                  <c:v>1012.58</c:v>
                </c:pt>
                <c:pt idx="36">
                  <c:v>1022.23</c:v>
                </c:pt>
                <c:pt idx="37">
                  <c:v>1012.65</c:v>
                </c:pt>
                <c:pt idx="38">
                  <c:v>1022.39</c:v>
                </c:pt>
                <c:pt idx="39">
                  <c:v>1034.42</c:v>
                </c:pt>
                <c:pt idx="40">
                  <c:v>1035.55</c:v>
                </c:pt>
                <c:pt idx="41">
                  <c:v>1045.02</c:v>
                </c:pt>
                <c:pt idx="42">
                  <c:v>1052.19</c:v>
                </c:pt>
                <c:pt idx="43">
                  <c:v>1061.82</c:v>
                </c:pt>
                <c:pt idx="44">
                  <c:v>1062.6500000000001</c:v>
                </c:pt>
                <c:pt idx="45">
                  <c:v>1059.1400000000001</c:v>
                </c:pt>
                <c:pt idx="46">
                  <c:v>1060.24</c:v>
                </c:pt>
                <c:pt idx="47">
                  <c:v>1058.7</c:v>
                </c:pt>
                <c:pt idx="48">
                  <c:v>1086.01</c:v>
                </c:pt>
                <c:pt idx="49">
                  <c:v>1077.43</c:v>
                </c:pt>
                <c:pt idx="50">
                  <c:v>1103.29</c:v>
                </c:pt>
                <c:pt idx="51">
                  <c:v>1086.56</c:v>
                </c:pt>
                <c:pt idx="52">
                  <c:v>1071.74</c:v>
                </c:pt>
                <c:pt idx="53">
                  <c:v>1054.8399999999999</c:v>
                </c:pt>
                <c:pt idx="54">
                  <c:v>1063.19</c:v>
                </c:pt>
                <c:pt idx="55">
                  <c:v>1069.81</c:v>
                </c:pt>
                <c:pt idx="56">
                  <c:v>1057.93</c:v>
                </c:pt>
                <c:pt idx="57">
                  <c:v>1049.6600000000001</c:v>
                </c:pt>
                <c:pt idx="58">
                  <c:v>1044.55</c:v>
                </c:pt>
                <c:pt idx="59">
                  <c:v>1034.57</c:v>
                </c:pt>
                <c:pt idx="60">
                  <c:v>1025.3699999999999</c:v>
                </c:pt>
                <c:pt idx="61">
                  <c:v>1031.6099999999999</c:v>
                </c:pt>
                <c:pt idx="62">
                  <c:v>1035.78</c:v>
                </c:pt>
                <c:pt idx="63">
                  <c:v>1041.71</c:v>
                </c:pt>
                <c:pt idx="64">
                  <c:v>1049.23</c:v>
                </c:pt>
                <c:pt idx="65">
                  <c:v>1040.75</c:v>
                </c:pt>
                <c:pt idx="66">
                  <c:v>1058.79</c:v>
                </c:pt>
                <c:pt idx="67">
                  <c:v>1063.74</c:v>
                </c:pt>
                <c:pt idx="68">
                  <c:v>1067.75</c:v>
                </c:pt>
                <c:pt idx="69">
                  <c:v>1092.3900000000001</c:v>
                </c:pt>
                <c:pt idx="70">
                  <c:v>1114.2</c:v>
                </c:pt>
                <c:pt idx="71">
                  <c:v>1130.44</c:v>
                </c:pt>
                <c:pt idx="72">
                  <c:v>1128.95</c:v>
                </c:pt>
                <c:pt idx="73">
                  <c:v>1151.47</c:v>
                </c:pt>
                <c:pt idx="74">
                  <c:v>1159.45</c:v>
                </c:pt>
                <c:pt idx="75">
                  <c:v>1158.6199999999999</c:v>
                </c:pt>
                <c:pt idx="76">
                  <c:v>1143.95</c:v>
                </c:pt>
                <c:pt idx="77">
                  <c:v>1146.24</c:v>
                </c:pt>
                <c:pt idx="78">
                  <c:v>1167.33</c:v>
                </c:pt>
                <c:pt idx="79">
                  <c:v>1168.68</c:v>
                </c:pt>
                <c:pt idx="80">
                  <c:v>1168.4000000000001</c:v>
                </c:pt>
                <c:pt idx="81">
                  <c:v>1177.6500000000001</c:v>
                </c:pt>
                <c:pt idx="82">
                  <c:v>1173.98</c:v>
                </c:pt>
                <c:pt idx="83">
                  <c:v>1161.26</c:v>
                </c:pt>
                <c:pt idx="84">
                  <c:v>1165.97</c:v>
                </c:pt>
                <c:pt idx="85">
                  <c:v>1169.0899999999999</c:v>
                </c:pt>
                <c:pt idx="86">
                  <c:v>1177.45</c:v>
                </c:pt>
                <c:pt idx="87">
                  <c:v>1169.46</c:v>
                </c:pt>
                <c:pt idx="88">
                  <c:v>1186.58</c:v>
                </c:pt>
                <c:pt idx="89">
                  <c:v>1194.99</c:v>
                </c:pt>
                <c:pt idx="90">
                  <c:v>1194.57</c:v>
                </c:pt>
                <c:pt idx="91">
                  <c:v>1204.58</c:v>
                </c:pt>
                <c:pt idx="92">
                  <c:v>1201.23</c:v>
                </c:pt>
                <c:pt idx="93">
                  <c:v>1196.1199999999999</c:v>
                </c:pt>
                <c:pt idx="94">
                  <c:v>1183.57</c:v>
                </c:pt>
                <c:pt idx="95">
                  <c:v>1181.9000000000001</c:v>
                </c:pt>
                <c:pt idx="96">
                  <c:v>1174.3599999999999</c:v>
                </c:pt>
                <c:pt idx="97">
                  <c:v>1166.3599999999999</c:v>
                </c:pt>
                <c:pt idx="98">
                  <c:v>1141.93</c:v>
                </c:pt>
                <c:pt idx="99">
                  <c:v>1128.82</c:v>
                </c:pt>
                <c:pt idx="100">
                  <c:v>1139.4100000000001</c:v>
                </c:pt>
                <c:pt idx="101">
                  <c:v>1149.0899999999999</c:v>
                </c:pt>
                <c:pt idx="102">
                  <c:v>1128.99</c:v>
                </c:pt>
                <c:pt idx="103">
                  <c:v>1139.6500000000001</c:v>
                </c:pt>
                <c:pt idx="104">
                  <c:v>1138.21</c:v>
                </c:pt>
                <c:pt idx="105">
                  <c:v>1143.67</c:v>
                </c:pt>
                <c:pt idx="106">
                  <c:v>1145.3599999999999</c:v>
                </c:pt>
                <c:pt idx="107">
                  <c:v>1118.94</c:v>
                </c:pt>
                <c:pt idx="108">
                  <c:v>1139.68</c:v>
                </c:pt>
                <c:pt idx="109">
                  <c:v>1134.6300000000001</c:v>
                </c:pt>
                <c:pt idx="110">
                  <c:v>1133.3699999999999</c:v>
                </c:pt>
                <c:pt idx="111">
                  <c:v>1115.9100000000001</c:v>
                </c:pt>
                <c:pt idx="112">
                  <c:v>1104.47</c:v>
                </c:pt>
                <c:pt idx="113">
                  <c:v>1092.4100000000001</c:v>
                </c:pt>
                <c:pt idx="114">
                  <c:v>1088.26</c:v>
                </c:pt>
                <c:pt idx="115">
                  <c:v>1080.58</c:v>
                </c:pt>
                <c:pt idx="116">
                  <c:v>1088.21</c:v>
                </c:pt>
                <c:pt idx="117">
                  <c:v>1093.8399999999999</c:v>
                </c:pt>
                <c:pt idx="118">
                  <c:v>1103.73</c:v>
                </c:pt>
                <c:pt idx="119">
                  <c:v>1096.46</c:v>
                </c:pt>
                <c:pt idx="120">
                  <c:v>1103.07</c:v>
                </c:pt>
                <c:pt idx="121">
                  <c:v>1109.1199999999999</c:v>
                </c:pt>
                <c:pt idx="122">
                  <c:v>1102.31</c:v>
                </c:pt>
                <c:pt idx="123">
                  <c:v>1097.45</c:v>
                </c:pt>
                <c:pt idx="124">
                  <c:v>1104.04</c:v>
                </c:pt>
                <c:pt idx="125">
                  <c:v>1016.15</c:v>
                </c:pt>
                <c:pt idx="126">
                  <c:v>1005.93</c:v>
                </c:pt>
                <c:pt idx="127">
                  <c:v>1014.66</c:v>
                </c:pt>
                <c:pt idx="128">
                  <c:v>1035.5999999999999</c:v>
                </c:pt>
                <c:pt idx="129">
                  <c:v>1020.59</c:v>
                </c:pt>
                <c:pt idx="130">
                  <c:v>999.76</c:v>
                </c:pt>
                <c:pt idx="131">
                  <c:v>999.42</c:v>
                </c:pt>
                <c:pt idx="132">
                  <c:v>981.36</c:v>
                </c:pt>
                <c:pt idx="133">
                  <c:v>1002.47</c:v>
                </c:pt>
                <c:pt idx="134">
                  <c:v>997.19</c:v>
                </c:pt>
                <c:pt idx="135">
                  <c:v>986.22</c:v>
                </c:pt>
                <c:pt idx="136">
                  <c:v>931.71</c:v>
                </c:pt>
                <c:pt idx="137">
                  <c:v>952.18</c:v>
                </c:pt>
                <c:pt idx="138">
                  <c:v>956.65</c:v>
                </c:pt>
                <c:pt idx="139">
                  <c:v>949.96</c:v>
                </c:pt>
                <c:pt idx="140">
                  <c:v>943.85</c:v>
                </c:pt>
                <c:pt idx="141">
                  <c:v>958.66</c:v>
                </c:pt>
                <c:pt idx="142">
                  <c:v>973.5</c:v>
                </c:pt>
                <c:pt idx="143">
                  <c:v>978.77</c:v>
                </c:pt>
                <c:pt idx="144">
                  <c:v>966.53</c:v>
                </c:pt>
                <c:pt idx="145">
                  <c:v>962.58</c:v>
                </c:pt>
                <c:pt idx="146">
                  <c:v>969.61</c:v>
                </c:pt>
                <c:pt idx="147">
                  <c:v>976.69</c:v>
                </c:pt>
                <c:pt idx="148">
                  <c:v>992.12</c:v>
                </c:pt>
                <c:pt idx="149">
                  <c:v>997.83</c:v>
                </c:pt>
                <c:pt idx="150">
                  <c:v>989.73</c:v>
                </c:pt>
                <c:pt idx="151">
                  <c:v>978.98</c:v>
                </c:pt>
                <c:pt idx="152">
                  <c:v>990.69</c:v>
                </c:pt>
                <c:pt idx="153">
                  <c:v>998.24</c:v>
                </c:pt>
                <c:pt idx="154">
                  <c:v>995.47</c:v>
                </c:pt>
                <c:pt idx="155">
                  <c:v>985.5</c:v>
                </c:pt>
                <c:pt idx="156">
                  <c:v>951.89</c:v>
                </c:pt>
                <c:pt idx="157">
                  <c:v>958.66</c:v>
                </c:pt>
                <c:pt idx="158">
                  <c:v>955.92</c:v>
                </c:pt>
                <c:pt idx="159">
                  <c:v>877.41</c:v>
                </c:pt>
                <c:pt idx="160">
                  <c:v>876.34</c:v>
                </c:pt>
                <c:pt idx="161">
                  <c:v>801.1</c:v>
                </c:pt>
                <c:pt idx="162">
                  <c:v>794.18</c:v>
                </c:pt>
                <c:pt idx="163">
                  <c:v>760.34</c:v>
                </c:pt>
                <c:pt idx="164">
                  <c:v>746.4</c:v>
                </c:pt>
                <c:pt idx="165">
                  <c:v>726.21</c:v>
                </c:pt>
                <c:pt idx="166">
                  <c:v>794.74</c:v>
                </c:pt>
                <c:pt idx="167">
                  <c:v>783.96</c:v>
                </c:pt>
                <c:pt idx="168">
                  <c:v>797.94</c:v>
                </c:pt>
                <c:pt idx="169">
                  <c:v>792.54</c:v>
                </c:pt>
                <c:pt idx="170">
                  <c:v>757.9</c:v>
                </c:pt>
                <c:pt idx="171">
                  <c:v>767.14</c:v>
                </c:pt>
                <c:pt idx="172">
                  <c:v>779.02</c:v>
                </c:pt>
                <c:pt idx="173">
                  <c:v>779.43</c:v>
                </c:pt>
                <c:pt idx="174">
                  <c:v>805.96</c:v>
                </c:pt>
                <c:pt idx="175">
                  <c:v>818.85</c:v>
                </c:pt>
                <c:pt idx="176">
                  <c:v>856.18</c:v>
                </c:pt>
                <c:pt idx="177">
                  <c:v>955.98</c:v>
                </c:pt>
                <c:pt idx="178">
                  <c:v>919.66</c:v>
                </c:pt>
                <c:pt idx="179">
                  <c:v>932.51</c:v>
                </c:pt>
                <c:pt idx="180">
                  <c:v>938.2</c:v>
                </c:pt>
                <c:pt idx="181">
                  <c:v>949.54</c:v>
                </c:pt>
                <c:pt idx="182">
                  <c:v>965.69</c:v>
                </c:pt>
                <c:pt idx="183">
                  <c:v>929.39</c:v>
                </c:pt>
                <c:pt idx="184">
                  <c:v>925.99</c:v>
                </c:pt>
                <c:pt idx="185">
                  <c:v>931.77</c:v>
                </c:pt>
                <c:pt idx="186">
                  <c:v>918.06</c:v>
                </c:pt>
                <c:pt idx="187">
                  <c:v>944.17</c:v>
                </c:pt>
                <c:pt idx="188">
                  <c:v>956.38</c:v>
                </c:pt>
                <c:pt idx="189">
                  <c:v>957.37</c:v>
                </c:pt>
                <c:pt idx="190">
                  <c:v>947.1</c:v>
                </c:pt>
                <c:pt idx="191">
                  <c:v>945.41</c:v>
                </c:pt>
                <c:pt idx="192">
                  <c:v>932.4</c:v>
                </c:pt>
                <c:pt idx="193">
                  <c:v>920.12</c:v>
                </c:pt>
                <c:pt idx="194">
                  <c:v>918.06</c:v>
                </c:pt>
                <c:pt idx="195">
                  <c:v>906.1</c:v>
                </c:pt>
                <c:pt idx="196">
                  <c:v>886.51</c:v>
                </c:pt>
                <c:pt idx="197">
                  <c:v>882.41</c:v>
                </c:pt>
                <c:pt idx="198">
                  <c:v>889.66</c:v>
                </c:pt>
                <c:pt idx="199">
                  <c:v>878.56</c:v>
                </c:pt>
                <c:pt idx="200">
                  <c:v>863.49</c:v>
                </c:pt>
                <c:pt idx="201">
                  <c:v>861.64</c:v>
                </c:pt>
                <c:pt idx="202">
                  <c:v>848.02</c:v>
                </c:pt>
                <c:pt idx="203">
                  <c:v>816.29</c:v>
                </c:pt>
                <c:pt idx="204">
                  <c:v>821.62</c:v>
                </c:pt>
                <c:pt idx="205">
                  <c:v>774.84</c:v>
                </c:pt>
                <c:pt idx="206">
                  <c:v>753.82</c:v>
                </c:pt>
                <c:pt idx="207">
                  <c:v>774.04</c:v>
                </c:pt>
                <c:pt idx="208">
                  <c:v>772.57</c:v>
                </c:pt>
                <c:pt idx="209">
                  <c:v>782.51</c:v>
                </c:pt>
                <c:pt idx="210">
                  <c:v>771.55</c:v>
                </c:pt>
                <c:pt idx="211">
                  <c:v>758.58</c:v>
                </c:pt>
                <c:pt idx="212">
                  <c:v>755.16</c:v>
                </c:pt>
                <c:pt idx="213">
                  <c:v>752.48</c:v>
                </c:pt>
                <c:pt idx="214">
                  <c:v>732.07</c:v>
                </c:pt>
                <c:pt idx="215">
                  <c:v>730.8</c:v>
                </c:pt>
                <c:pt idx="216">
                  <c:v>741.81</c:v>
                </c:pt>
                <c:pt idx="217">
                  <c:v>761.6</c:v>
                </c:pt>
                <c:pt idx="218">
                  <c:v>757.1</c:v>
                </c:pt>
                <c:pt idx="219">
                  <c:v>754.22</c:v>
                </c:pt>
                <c:pt idx="220">
                  <c:v>757.79</c:v>
                </c:pt>
                <c:pt idx="221">
                  <c:v>754.67</c:v>
                </c:pt>
                <c:pt idx="222">
                  <c:v>754.85</c:v>
                </c:pt>
                <c:pt idx="223">
                  <c:v>772.41</c:v>
                </c:pt>
                <c:pt idx="224">
                  <c:v>768.63</c:v>
                </c:pt>
                <c:pt idx="225">
                  <c:v>775.28</c:v>
                </c:pt>
                <c:pt idx="226">
                  <c:v>780.11</c:v>
                </c:pt>
                <c:pt idx="227">
                  <c:v>760.07</c:v>
                </c:pt>
                <c:pt idx="228">
                  <c:v>748.68</c:v>
                </c:pt>
                <c:pt idx="229">
                  <c:v>741.22</c:v>
                </c:pt>
                <c:pt idx="230">
                  <c:v>738.28</c:v>
                </c:pt>
                <c:pt idx="231">
                  <c:v>734.59</c:v>
                </c:pt>
                <c:pt idx="232">
                  <c:v>751.6</c:v>
                </c:pt>
                <c:pt idx="233">
                  <c:v>746.35</c:v>
                </c:pt>
                <c:pt idx="234">
                  <c:v>753.36</c:v>
                </c:pt>
                <c:pt idx="235">
                  <c:v>756.52</c:v>
                </c:pt>
                <c:pt idx="236">
                  <c:v>762.19</c:v>
                </c:pt>
                <c:pt idx="237">
                  <c:v>763.15</c:v>
                </c:pt>
                <c:pt idx="238">
                  <c:v>762.14</c:v>
                </c:pt>
                <c:pt idx="239">
                  <c:v>768.72</c:v>
                </c:pt>
                <c:pt idx="240">
                  <c:v>768.22</c:v>
                </c:pt>
                <c:pt idx="241">
                  <c:v>764.87</c:v>
                </c:pt>
                <c:pt idx="242">
                  <c:v>754.89</c:v>
                </c:pt>
                <c:pt idx="243">
                  <c:v>761.08</c:v>
                </c:pt>
                <c:pt idx="244">
                  <c:v>752.24</c:v>
                </c:pt>
                <c:pt idx="245">
                  <c:v>753.16</c:v>
                </c:pt>
                <c:pt idx="246">
                  <c:v>761.21</c:v>
                </c:pt>
                <c:pt idx="247">
                  <c:v>760.15</c:v>
                </c:pt>
                <c:pt idx="248">
                  <c:v>759.57</c:v>
                </c:pt>
                <c:pt idx="249">
                  <c:v>749.05</c:v>
                </c:pt>
                <c:pt idx="250">
                  <c:v>741.89</c:v>
                </c:pt>
                <c:pt idx="251">
                  <c:v>751.4</c:v>
                </c:pt>
                <c:pt idx="252">
                  <c:v>760.68</c:v>
                </c:pt>
                <c:pt idx="253">
                  <c:v>773.73</c:v>
                </c:pt>
                <c:pt idx="254">
                  <c:v>793.63</c:v>
                </c:pt>
                <c:pt idx="255">
                  <c:v>795.96</c:v>
                </c:pt>
                <c:pt idx="256">
                  <c:v>799.31</c:v>
                </c:pt>
                <c:pt idx="257">
                  <c:v>799.22</c:v>
                </c:pt>
                <c:pt idx="258">
                  <c:v>818.22</c:v>
                </c:pt>
                <c:pt idx="259">
                  <c:v>836.77</c:v>
                </c:pt>
                <c:pt idx="260">
                  <c:v>860.47</c:v>
                </c:pt>
                <c:pt idx="261">
                  <c:v>868.13</c:v>
                </c:pt>
                <c:pt idx="262">
                  <c:v>868.3</c:v>
                </c:pt>
                <c:pt idx="263">
                  <c:v>862.14</c:v>
                </c:pt>
                <c:pt idx="264">
                  <c:v>869.01</c:v>
                </c:pt>
                <c:pt idx="265">
                  <c:v>878.82</c:v>
                </c:pt>
                <c:pt idx="266">
                  <c:v>877.53</c:v>
                </c:pt>
                <c:pt idx="267">
                  <c:v>881.65</c:v>
                </c:pt>
                <c:pt idx="268">
                  <c:v>886.04</c:v>
                </c:pt>
                <c:pt idx="269">
                  <c:v>884.93</c:v>
                </c:pt>
                <c:pt idx="270">
                  <c:v>885.4</c:v>
                </c:pt>
                <c:pt idx="271">
                  <c:v>890.46</c:v>
                </c:pt>
                <c:pt idx="272">
                  <c:v>886.16</c:v>
                </c:pt>
                <c:pt idx="273">
                  <c:v>888.53</c:v>
                </c:pt>
                <c:pt idx="274">
                  <c:v>887.44</c:v>
                </c:pt>
                <c:pt idx="275">
                  <c:v>898.36</c:v>
                </c:pt>
                <c:pt idx="276">
                  <c:v>892.93</c:v>
                </c:pt>
                <c:pt idx="277">
                  <c:v>886.46</c:v>
                </c:pt>
                <c:pt idx="278">
                  <c:v>903.47</c:v>
                </c:pt>
                <c:pt idx="279">
                  <c:v>898.71</c:v>
                </c:pt>
                <c:pt idx="280">
                  <c:v>902.4</c:v>
                </c:pt>
                <c:pt idx="281">
                  <c:v>906.81</c:v>
                </c:pt>
                <c:pt idx="282">
                  <c:v>912.12</c:v>
                </c:pt>
                <c:pt idx="283">
                  <c:v>874.68</c:v>
                </c:pt>
                <c:pt idx="284">
                  <c:v>880.09</c:v>
                </c:pt>
                <c:pt idx="285">
                  <c:v>874.45</c:v>
                </c:pt>
                <c:pt idx="286">
                  <c:v>875.16</c:v>
                </c:pt>
                <c:pt idx="287">
                  <c:v>889.02</c:v>
                </c:pt>
                <c:pt idx="288">
                  <c:v>889.62</c:v>
                </c:pt>
                <c:pt idx="289">
                  <c:v>898.82</c:v>
                </c:pt>
                <c:pt idx="290">
                  <c:v>917.54</c:v>
                </c:pt>
                <c:pt idx="291">
                  <c:v>900.56</c:v>
                </c:pt>
                <c:pt idx="292">
                  <c:v>913.18</c:v>
                </c:pt>
                <c:pt idx="293">
                  <c:v>902.3</c:v>
                </c:pt>
                <c:pt idx="294">
                  <c:v>890.37</c:v>
                </c:pt>
                <c:pt idx="295">
                  <c:v>900.16</c:v>
                </c:pt>
                <c:pt idx="296">
                  <c:v>892.24</c:v>
                </c:pt>
                <c:pt idx="297">
                  <c:v>886.54</c:v>
                </c:pt>
                <c:pt idx="298">
                  <c:v>884.73</c:v>
                </c:pt>
                <c:pt idx="299">
                  <c:v>867.03</c:v>
                </c:pt>
                <c:pt idx="300">
                  <c:v>866.33</c:v>
                </c:pt>
                <c:pt idx="301">
                  <c:v>875.63</c:v>
                </c:pt>
                <c:pt idx="302">
                  <c:v>876.1</c:v>
                </c:pt>
                <c:pt idx="303">
                  <c:v>866.9</c:v>
                </c:pt>
                <c:pt idx="304">
                  <c:v>854.13</c:v>
                </c:pt>
                <c:pt idx="305">
                  <c:v>877.6</c:v>
                </c:pt>
                <c:pt idx="306">
                  <c:v>885.24</c:v>
                </c:pt>
                <c:pt idx="307">
                  <c:v>884.43</c:v>
                </c:pt>
                <c:pt idx="308">
                  <c:v>889.6</c:v>
                </c:pt>
                <c:pt idx="309">
                  <c:v>880.87</c:v>
                </c:pt>
                <c:pt idx="310">
                  <c:v>882.13</c:v>
                </c:pt>
                <c:pt idx="311">
                  <c:v>888.45</c:v>
                </c:pt>
                <c:pt idx="312">
                  <c:v>877.95</c:v>
                </c:pt>
                <c:pt idx="313">
                  <c:v>894.51</c:v>
                </c:pt>
                <c:pt idx="314">
                  <c:v>882.16</c:v>
                </c:pt>
                <c:pt idx="315">
                  <c:v>882.32</c:v>
                </c:pt>
                <c:pt idx="316">
                  <c:v>884.4</c:v>
                </c:pt>
                <c:pt idx="317">
                  <c:v>887.2</c:v>
                </c:pt>
                <c:pt idx="318">
                  <c:v>885.75</c:v>
                </c:pt>
                <c:pt idx="319">
                  <c:v>887.47</c:v>
                </c:pt>
                <c:pt idx="320">
                  <c:v>892.14</c:v>
                </c:pt>
                <c:pt idx="321">
                  <c:v>884.48</c:v>
                </c:pt>
                <c:pt idx="322">
                  <c:v>888.77</c:v>
                </c:pt>
                <c:pt idx="323">
                  <c:v>879.71</c:v>
                </c:pt>
                <c:pt idx="324">
                  <c:v>880.55</c:v>
                </c:pt>
                <c:pt idx="325">
                  <c:v>870.25</c:v>
                </c:pt>
                <c:pt idx="326">
                  <c:v>858.75</c:v>
                </c:pt>
                <c:pt idx="327">
                  <c:v>868.7</c:v>
                </c:pt>
                <c:pt idx="328">
                  <c:v>875.69</c:v>
                </c:pt>
                <c:pt idx="329">
                  <c:v>888.28</c:v>
                </c:pt>
                <c:pt idx="330">
                  <c:v>879.41</c:v>
                </c:pt>
                <c:pt idx="331">
                  <c:v>886.78</c:v>
                </c:pt>
                <c:pt idx="332">
                  <c:v>893.25</c:v>
                </c:pt>
                <c:pt idx="333">
                  <c:v>886.42</c:v>
                </c:pt>
                <c:pt idx="334">
                  <c:v>879.72</c:v>
                </c:pt>
                <c:pt idx="335">
                  <c:v>879.28</c:v>
                </c:pt>
                <c:pt idx="336">
                  <c:v>874.11</c:v>
                </c:pt>
                <c:pt idx="337">
                  <c:v>877.34</c:v>
                </c:pt>
                <c:pt idx="338">
                  <c:v>874.6</c:v>
                </c:pt>
                <c:pt idx="339">
                  <c:v>874.58</c:v>
                </c:pt>
                <c:pt idx="340">
                  <c:v>888.22</c:v>
                </c:pt>
                <c:pt idx="341">
                  <c:v>892.9</c:v>
                </c:pt>
                <c:pt idx="342">
                  <c:v>895.75</c:v>
                </c:pt>
                <c:pt idx="343">
                  <c:v>885.18</c:v>
                </c:pt>
                <c:pt idx="344">
                  <c:v>895.12</c:v>
                </c:pt>
                <c:pt idx="345">
                  <c:v>898.22</c:v>
                </c:pt>
                <c:pt idx="346">
                  <c:v>912.31</c:v>
                </c:pt>
                <c:pt idx="347">
                  <c:v>924.58</c:v>
                </c:pt>
                <c:pt idx="348">
                  <c:v>923.94</c:v>
                </c:pt>
                <c:pt idx="349">
                  <c:v>924.7</c:v>
                </c:pt>
                <c:pt idx="350">
                  <c:v>923.25</c:v>
                </c:pt>
                <c:pt idx="351">
                  <c:v>928.44</c:v>
                </c:pt>
                <c:pt idx="352">
                  <c:v>921.84</c:v>
                </c:pt>
                <c:pt idx="353">
                  <c:v>917.16</c:v>
                </c:pt>
                <c:pt idx="354">
                  <c:v>925.59</c:v>
                </c:pt>
                <c:pt idx="355">
                  <c:v>925.8</c:v>
                </c:pt>
                <c:pt idx="356">
                  <c:v>926.86</c:v>
                </c:pt>
                <c:pt idx="357">
                  <c:v>925.58</c:v>
                </c:pt>
                <c:pt idx="358">
                  <c:v>923.38</c:v>
                </c:pt>
                <c:pt idx="359">
                  <c:v>923.53</c:v>
                </c:pt>
                <c:pt idx="360">
                  <c:v>924.77</c:v>
                </c:pt>
                <c:pt idx="361">
                  <c:v>920.13</c:v>
                </c:pt>
                <c:pt idx="362">
                  <c:v>922.42</c:v>
                </c:pt>
                <c:pt idx="363">
                  <c:v>925.38</c:v>
                </c:pt>
                <c:pt idx="364">
                  <c:v>927.2</c:v>
                </c:pt>
                <c:pt idx="365">
                  <c:v>927.13</c:v>
                </c:pt>
                <c:pt idx="366">
                  <c:v>938.11</c:v>
                </c:pt>
                <c:pt idx="367">
                  <c:v>948.36</c:v>
                </c:pt>
                <c:pt idx="368">
                  <c:v>946.26</c:v>
                </c:pt>
                <c:pt idx="369">
                  <c:v>945.59</c:v>
                </c:pt>
                <c:pt idx="370">
                  <c:v>954.74</c:v>
                </c:pt>
                <c:pt idx="371">
                  <c:v>948.68</c:v>
                </c:pt>
                <c:pt idx="372">
                  <c:v>955.22</c:v>
                </c:pt>
                <c:pt idx="373">
                  <c:v>963.45</c:v>
                </c:pt>
                <c:pt idx="374">
                  <c:v>967.8</c:v>
                </c:pt>
                <c:pt idx="375">
                  <c:v>967.98</c:v>
                </c:pt>
                <c:pt idx="376">
                  <c:v>970.1</c:v>
                </c:pt>
                <c:pt idx="377">
                  <c:v>980.51</c:v>
                </c:pt>
                <c:pt idx="378">
                  <c:v>967.33</c:v>
                </c:pt>
                <c:pt idx="379">
                  <c:v>968.33</c:v>
                </c:pt>
                <c:pt idx="380">
                  <c:v>975.74</c:v>
                </c:pt>
                <c:pt idx="381">
                  <c:v>975.9</c:v>
                </c:pt>
                <c:pt idx="382">
                  <c:v>965.31</c:v>
                </c:pt>
                <c:pt idx="383">
                  <c:v>953.1</c:v>
                </c:pt>
                <c:pt idx="384">
                  <c:v>961.27</c:v>
                </c:pt>
                <c:pt idx="385">
                  <c:v>954.39</c:v>
                </c:pt>
                <c:pt idx="386">
                  <c:v>949.85</c:v>
                </c:pt>
                <c:pt idx="387">
                  <c:v>972.27</c:v>
                </c:pt>
                <c:pt idx="388">
                  <c:v>985.76</c:v>
                </c:pt>
                <c:pt idx="389">
                  <c:v>978.59</c:v>
                </c:pt>
                <c:pt idx="390">
                  <c:v>970.18</c:v>
                </c:pt>
                <c:pt idx="391">
                  <c:v>971.19</c:v>
                </c:pt>
                <c:pt idx="392">
                  <c:v>978.57</c:v>
                </c:pt>
                <c:pt idx="393">
                  <c:v>967.77</c:v>
                </c:pt>
                <c:pt idx="394">
                  <c:v>968.42</c:v>
                </c:pt>
                <c:pt idx="395">
                  <c:v>974.13</c:v>
                </c:pt>
                <c:pt idx="396">
                  <c:v>972.15</c:v>
                </c:pt>
                <c:pt idx="397">
                  <c:v>968.72</c:v>
                </c:pt>
                <c:pt idx="398">
                  <c:v>975.96</c:v>
                </c:pt>
                <c:pt idx="399">
                  <c:v>980.77</c:v>
                </c:pt>
                <c:pt idx="400">
                  <c:v>974.42</c:v>
                </c:pt>
                <c:pt idx="401">
                  <c:v>961.68</c:v>
                </c:pt>
                <c:pt idx="402">
                  <c:v>950.64</c:v>
                </c:pt>
                <c:pt idx="403">
                  <c:v>952.78</c:v>
                </c:pt>
                <c:pt idx="404">
                  <c:v>952.97</c:v>
                </c:pt>
                <c:pt idx="405">
                  <c:v>950.16</c:v>
                </c:pt>
                <c:pt idx="406">
                  <c:v>941</c:v>
                </c:pt>
                <c:pt idx="407">
                  <c:v>941.11</c:v>
                </c:pt>
                <c:pt idx="408">
                  <c:v>917.89</c:v>
                </c:pt>
                <c:pt idx="409">
                  <c:v>924.58</c:v>
                </c:pt>
                <c:pt idx="410">
                  <c:v>930.02</c:v>
                </c:pt>
                <c:pt idx="411">
                  <c:v>927.43</c:v>
                </c:pt>
                <c:pt idx="412">
                  <c:v>929.11</c:v>
                </c:pt>
                <c:pt idx="413">
                  <c:v>941.94</c:v>
                </c:pt>
                <c:pt idx="414">
                  <c:v>934.32</c:v>
                </c:pt>
                <c:pt idx="415">
                  <c:v>942.35</c:v>
                </c:pt>
                <c:pt idx="416">
                  <c:v>929.36</c:v>
                </c:pt>
                <c:pt idx="417">
                  <c:v>927.02</c:v>
                </c:pt>
                <c:pt idx="418">
                  <c:v>924.49</c:v>
                </c:pt>
                <c:pt idx="419">
                  <c:v>924.17</c:v>
                </c:pt>
                <c:pt idx="420">
                  <c:v>931.65</c:v>
                </c:pt>
                <c:pt idx="421">
                  <c:v>934.8</c:v>
                </c:pt>
                <c:pt idx="422">
                  <c:v>935.81</c:v>
                </c:pt>
                <c:pt idx="423">
                  <c:v>929.01</c:v>
                </c:pt>
                <c:pt idx="424">
                  <c:v>938.02</c:v>
                </c:pt>
                <c:pt idx="425">
                  <c:v>947.87</c:v>
                </c:pt>
                <c:pt idx="426">
                  <c:v>947.65</c:v>
                </c:pt>
                <c:pt idx="427">
                  <c:v>945.64</c:v>
                </c:pt>
                <c:pt idx="428">
                  <c:v>935.11</c:v>
                </c:pt>
                <c:pt idx="429">
                  <c:v>937.95</c:v>
                </c:pt>
                <c:pt idx="430">
                  <c:v>967.74</c:v>
                </c:pt>
                <c:pt idx="431">
                  <c:v>967.56</c:v>
                </c:pt>
                <c:pt idx="432">
                  <c:v>966.33</c:v>
                </c:pt>
                <c:pt idx="433">
                  <c:v>970.59</c:v>
                </c:pt>
                <c:pt idx="434">
                  <c:v>968.92</c:v>
                </c:pt>
                <c:pt idx="435">
                  <c:v>967.64</c:v>
                </c:pt>
                <c:pt idx="436">
                  <c:v>967.24</c:v>
                </c:pt>
                <c:pt idx="437">
                  <c:v>967.4</c:v>
                </c:pt>
                <c:pt idx="438">
                  <c:v>982.3</c:v>
                </c:pt>
                <c:pt idx="439">
                  <c:v>982.64</c:v>
                </c:pt>
                <c:pt idx="440">
                  <c:v>982.64</c:v>
                </c:pt>
                <c:pt idx="441">
                  <c:v>999.8</c:v>
                </c:pt>
                <c:pt idx="442">
                  <c:v>996</c:v>
                </c:pt>
                <c:pt idx="443">
                  <c:v>992.78</c:v>
                </c:pt>
                <c:pt idx="444">
                  <c:v>989.26</c:v>
                </c:pt>
                <c:pt idx="445">
                  <c:v>996.72</c:v>
                </c:pt>
                <c:pt idx="446">
                  <c:v>990.6</c:v>
                </c:pt>
                <c:pt idx="447">
                  <c:v>979.42</c:v>
                </c:pt>
                <c:pt idx="448">
                  <c:v>996.2</c:v>
                </c:pt>
                <c:pt idx="449">
                  <c:v>1001.96</c:v>
                </c:pt>
                <c:pt idx="450">
                  <c:v>1003.58</c:v>
                </c:pt>
                <c:pt idx="451">
                  <c:v>1006.98</c:v>
                </c:pt>
                <c:pt idx="452">
                  <c:v>1009.4</c:v>
                </c:pt>
                <c:pt idx="453">
                  <c:v>1016.08</c:v>
                </c:pt>
                <c:pt idx="454">
                  <c:v>1013.78</c:v>
                </c:pt>
                <c:pt idx="455">
                  <c:v>1006.02</c:v>
                </c:pt>
                <c:pt idx="456">
                  <c:v>1003.57</c:v>
                </c:pt>
                <c:pt idx="457">
                  <c:v>999.41</c:v>
                </c:pt>
                <c:pt idx="458">
                  <c:v>990.11</c:v>
                </c:pt>
                <c:pt idx="459">
                  <c:v>984.83</c:v>
                </c:pt>
                <c:pt idx="460">
                  <c:v>986.03</c:v>
                </c:pt>
                <c:pt idx="461">
                  <c:v>984.54</c:v>
                </c:pt>
                <c:pt idx="462">
                  <c:v>986.89</c:v>
                </c:pt>
                <c:pt idx="463">
                  <c:v>985.65</c:v>
                </c:pt>
                <c:pt idx="464">
                  <c:v>957.83</c:v>
                </c:pt>
                <c:pt idx="465">
                  <c:v>959.68</c:v>
                </c:pt>
                <c:pt idx="466">
                  <c:v>960.2</c:v>
                </c:pt>
                <c:pt idx="467">
                  <c:v>957.49</c:v>
                </c:pt>
                <c:pt idx="468">
                  <c:v>961.75</c:v>
                </c:pt>
                <c:pt idx="469">
                  <c:v>971.16</c:v>
                </c:pt>
                <c:pt idx="470">
                  <c:v>982.46</c:v>
                </c:pt>
                <c:pt idx="471">
                  <c:v>982.64</c:v>
                </c:pt>
                <c:pt idx="472">
                  <c:v>989.91</c:v>
                </c:pt>
                <c:pt idx="473">
                  <c:v>992.7</c:v>
                </c:pt>
                <c:pt idx="474">
                  <c:v>1000.51</c:v>
                </c:pt>
                <c:pt idx="475">
                  <c:v>993.68</c:v>
                </c:pt>
                <c:pt idx="476">
                  <c:v>998.95</c:v>
                </c:pt>
                <c:pt idx="477">
                  <c:v>989.86</c:v>
                </c:pt>
                <c:pt idx="478">
                  <c:v>985.18</c:v>
                </c:pt>
                <c:pt idx="479">
                  <c:v>981</c:v>
                </c:pt>
                <c:pt idx="480">
                  <c:v>984.32</c:v>
                </c:pt>
                <c:pt idx="481">
                  <c:v>975.07</c:v>
                </c:pt>
                <c:pt idx="482">
                  <c:v>981.66</c:v>
                </c:pt>
                <c:pt idx="483">
                  <c:v>987.85</c:v>
                </c:pt>
                <c:pt idx="484">
                  <c:v>986.55</c:v>
                </c:pt>
                <c:pt idx="485">
                  <c:v>992.85</c:v>
                </c:pt>
                <c:pt idx="486">
                  <c:v>993.83</c:v>
                </c:pt>
                <c:pt idx="487">
                  <c:v>995.03</c:v>
                </c:pt>
                <c:pt idx="488">
                  <c:v>992.74</c:v>
                </c:pt>
                <c:pt idx="489">
                  <c:v>989.83</c:v>
                </c:pt>
                <c:pt idx="490">
                  <c:v>984.95</c:v>
                </c:pt>
                <c:pt idx="491">
                  <c:v>999.67</c:v>
                </c:pt>
                <c:pt idx="492">
                  <c:v>994.26</c:v>
                </c:pt>
                <c:pt idx="493">
                  <c:v>1005.38</c:v>
                </c:pt>
                <c:pt idx="494">
                  <c:v>1003.66</c:v>
                </c:pt>
                <c:pt idx="495">
                  <c:v>998.24</c:v>
                </c:pt>
                <c:pt idx="496">
                  <c:v>1010.91</c:v>
                </c:pt>
                <c:pt idx="497">
                  <c:v>1011.96</c:v>
                </c:pt>
                <c:pt idx="498">
                  <c:v>1014.21</c:v>
                </c:pt>
                <c:pt idx="499">
                  <c:v>1021.88</c:v>
                </c:pt>
                <c:pt idx="500">
                  <c:v>1018.73</c:v>
                </c:pt>
                <c:pt idx="501">
                  <c:v>1024.1600000000001</c:v>
                </c:pt>
                <c:pt idx="502">
                  <c:v>1021.43</c:v>
                </c:pt>
                <c:pt idx="503">
                  <c:v>1033.57</c:v>
                </c:pt>
                <c:pt idx="504">
                  <c:v>1037.03</c:v>
                </c:pt>
                <c:pt idx="505">
                  <c:v>1035.1099999999999</c:v>
                </c:pt>
                <c:pt idx="506">
                  <c:v>1049.54</c:v>
                </c:pt>
                <c:pt idx="507">
                  <c:v>1039.44</c:v>
                </c:pt>
                <c:pt idx="508">
                  <c:v>1041.71</c:v>
                </c:pt>
                <c:pt idx="509">
                  <c:v>1048.23</c:v>
                </c:pt>
                <c:pt idx="510">
                  <c:v>1058.96</c:v>
                </c:pt>
                <c:pt idx="511">
                  <c:v>1057.1600000000001</c:v>
                </c:pt>
                <c:pt idx="512">
                  <c:v>1061</c:v>
                </c:pt>
                <c:pt idx="513">
                  <c:v>1060.3499999999999</c:v>
                </c:pt>
                <c:pt idx="514">
                  <c:v>1065.1099999999999</c:v>
                </c:pt>
                <c:pt idx="515">
                  <c:v>1062.81</c:v>
                </c:pt>
                <c:pt idx="516">
                  <c:v>1056.8699999999999</c:v>
                </c:pt>
                <c:pt idx="517">
                  <c:v>1061.8699999999999</c:v>
                </c:pt>
                <c:pt idx="518">
                  <c:v>1066.46</c:v>
                </c:pt>
                <c:pt idx="519">
                  <c:v>1058.44</c:v>
                </c:pt>
                <c:pt idx="520">
                  <c:v>1057.49</c:v>
                </c:pt>
                <c:pt idx="521">
                  <c:v>1066.05</c:v>
                </c:pt>
                <c:pt idx="522">
                  <c:v>1080.4100000000001</c:v>
                </c:pt>
                <c:pt idx="523">
                  <c:v>1074.19</c:v>
                </c:pt>
                <c:pt idx="524">
                  <c:v>1086.26</c:v>
                </c:pt>
                <c:pt idx="525">
                  <c:v>1086.3900000000001</c:v>
                </c:pt>
                <c:pt idx="526">
                  <c:v>1096.98</c:v>
                </c:pt>
                <c:pt idx="527">
                  <c:v>1108.45</c:v>
                </c:pt>
                <c:pt idx="528">
                  <c:v>1101.56</c:v>
                </c:pt>
                <c:pt idx="529">
                  <c:v>1111.5899999999999</c:v>
                </c:pt>
                <c:pt idx="530">
                  <c:v>1111.24</c:v>
                </c:pt>
                <c:pt idx="531">
                  <c:v>1112.6099999999999</c:v>
                </c:pt>
                <c:pt idx="532">
                  <c:v>1110.9000000000001</c:v>
                </c:pt>
                <c:pt idx="533">
                  <c:v>1114.53</c:v>
                </c:pt>
                <c:pt idx="534">
                  <c:v>1115.32</c:v>
                </c:pt>
                <c:pt idx="535">
                  <c:v>1118.03</c:v>
                </c:pt>
                <c:pt idx="536">
                  <c:v>1125.0899999999999</c:v>
                </c:pt>
                <c:pt idx="537">
                  <c:v>1133.26</c:v>
                </c:pt>
                <c:pt idx="538">
                  <c:v>1147.74</c:v>
                </c:pt>
                <c:pt idx="539">
                  <c:v>1155.0899999999999</c:v>
                </c:pt>
                <c:pt idx="540">
                  <c:v>1157.1199999999999</c:v>
                </c:pt>
                <c:pt idx="541">
                  <c:v>1167.94</c:v>
                </c:pt>
                <c:pt idx="542">
                  <c:v>1157.3800000000001</c:v>
                </c:pt>
                <c:pt idx="543">
                  <c:v>1166.92</c:v>
                </c:pt>
                <c:pt idx="544">
                  <c:v>1167.72</c:v>
                </c:pt>
                <c:pt idx="545">
                  <c:v>1190.0999999999999</c:v>
                </c:pt>
                <c:pt idx="546">
                  <c:v>1188.23</c:v>
                </c:pt>
                <c:pt idx="547">
                  <c:v>1179.7</c:v>
                </c:pt>
                <c:pt idx="548">
                  <c:v>1197.03</c:v>
                </c:pt>
                <c:pt idx="549">
                  <c:v>1179.43</c:v>
                </c:pt>
                <c:pt idx="550">
                  <c:v>1161.24</c:v>
                </c:pt>
                <c:pt idx="551">
                  <c:v>1146.51</c:v>
                </c:pt>
                <c:pt idx="552">
                  <c:v>1160.74</c:v>
                </c:pt>
                <c:pt idx="553">
                  <c:v>1159.96</c:v>
                </c:pt>
                <c:pt idx="554">
                  <c:v>1157.31</c:v>
                </c:pt>
                <c:pt idx="555">
                  <c:v>1164.1600000000001</c:v>
                </c:pt>
                <c:pt idx="556">
                  <c:v>1159.1500000000001</c:v>
                </c:pt>
                <c:pt idx="557">
                  <c:v>1161.6500000000001</c:v>
                </c:pt>
                <c:pt idx="558">
                  <c:v>1151.99</c:v>
                </c:pt>
                <c:pt idx="559">
                  <c:v>1154.4100000000001</c:v>
                </c:pt>
                <c:pt idx="560">
                  <c:v>1154.22</c:v>
                </c:pt>
                <c:pt idx="561">
                  <c:v>1160.3599999999999</c:v>
                </c:pt>
                <c:pt idx="562">
                  <c:v>1164.99</c:v>
                </c:pt>
                <c:pt idx="563">
                  <c:v>1162.1300000000001</c:v>
                </c:pt>
                <c:pt idx="564">
                  <c:v>1151.32</c:v>
                </c:pt>
                <c:pt idx="565">
                  <c:v>1153.43</c:v>
                </c:pt>
                <c:pt idx="566">
                  <c:v>1152.6199999999999</c:v>
                </c:pt>
                <c:pt idx="567">
                  <c:v>1136.6300000000001</c:v>
                </c:pt>
                <c:pt idx="568">
                  <c:v>1140.97</c:v>
                </c:pt>
                <c:pt idx="569">
                  <c:v>1135.71</c:v>
                </c:pt>
                <c:pt idx="570">
                  <c:v>1134.0899999999999</c:v>
                </c:pt>
                <c:pt idx="571">
                  <c:v>1129.3800000000001</c:v>
                </c:pt>
                <c:pt idx="572">
                  <c:v>1120.99</c:v>
                </c:pt>
                <c:pt idx="573">
                  <c:v>1123.6400000000001</c:v>
                </c:pt>
                <c:pt idx="574">
                  <c:v>1125.99</c:v>
                </c:pt>
                <c:pt idx="575">
                  <c:v>1131.6500000000001</c:v>
                </c:pt>
                <c:pt idx="576">
                  <c:v>1140.6099999999999</c:v>
                </c:pt>
                <c:pt idx="577">
                  <c:v>1139.04</c:v>
                </c:pt>
                <c:pt idx="578">
                  <c:v>1141.99</c:v>
                </c:pt>
                <c:pt idx="579">
                  <c:v>1148.19</c:v>
                </c:pt>
                <c:pt idx="580">
                  <c:v>1146.74</c:v>
                </c:pt>
                <c:pt idx="581">
                  <c:v>1148.74</c:v>
                </c:pt>
                <c:pt idx="582">
                  <c:v>1152.51</c:v>
                </c:pt>
                <c:pt idx="583">
                  <c:v>1159.77</c:v>
                </c:pt>
                <c:pt idx="584">
                  <c:v>1164.5</c:v>
                </c:pt>
                <c:pt idx="585">
                  <c:v>1166.82</c:v>
                </c:pt>
                <c:pt idx="586">
                  <c:v>1177.56</c:v>
                </c:pt>
                <c:pt idx="587">
                  <c:v>1182.52</c:v>
                </c:pt>
                <c:pt idx="588">
                  <c:v>1183.8900000000001</c:v>
                </c:pt>
                <c:pt idx="589">
                  <c:v>1199.53</c:v>
                </c:pt>
                <c:pt idx="590">
                  <c:v>1190.33</c:v>
                </c:pt>
                <c:pt idx="591">
                  <c:v>1190.27</c:v>
                </c:pt>
                <c:pt idx="592">
                  <c:v>1193.68</c:v>
                </c:pt>
                <c:pt idx="593">
                  <c:v>1195.82</c:v>
                </c:pt>
                <c:pt idx="594">
                  <c:v>1186.08</c:v>
                </c:pt>
                <c:pt idx="595">
                  <c:v>1181.42</c:v>
                </c:pt>
                <c:pt idx="596">
                  <c:v>1182.05</c:v>
                </c:pt>
                <c:pt idx="597">
                  <c:v>1172.54</c:v>
                </c:pt>
                <c:pt idx="598">
                  <c:v>1174.8</c:v>
                </c:pt>
                <c:pt idx="599">
                  <c:v>1164.8399999999999</c:v>
                </c:pt>
                <c:pt idx="600">
                  <c:v>1162.21</c:v>
                </c:pt>
                <c:pt idx="601">
                  <c:v>1182.58</c:v>
                </c:pt>
                <c:pt idx="602">
                  <c:v>1193.29</c:v>
                </c:pt>
                <c:pt idx="603">
                  <c:v>1180.23</c:v>
                </c:pt>
                <c:pt idx="604">
                  <c:v>1177.8800000000001</c:v>
                </c:pt>
                <c:pt idx="605">
                  <c:v>1181.28</c:v>
                </c:pt>
                <c:pt idx="606">
                  <c:v>1199.26</c:v>
                </c:pt>
                <c:pt idx="607">
                  <c:v>1198.8599999999999</c:v>
                </c:pt>
                <c:pt idx="608">
                  <c:v>1201.1199999999999</c:v>
                </c:pt>
                <c:pt idx="609">
                  <c:v>1208.75</c:v>
                </c:pt>
                <c:pt idx="610">
                  <c:v>1203.1099999999999</c:v>
                </c:pt>
                <c:pt idx="611">
                  <c:v>1217.3800000000001</c:v>
                </c:pt>
                <c:pt idx="612">
                  <c:v>1217.52</c:v>
                </c:pt>
                <c:pt idx="613">
                  <c:v>1230.3499999999999</c:v>
                </c:pt>
                <c:pt idx="614">
                  <c:v>1231.3900000000001</c:v>
                </c:pt>
                <c:pt idx="615">
                  <c:v>1228.8800000000001</c:v>
                </c:pt>
                <c:pt idx="616">
                  <c:v>1230.25</c:v>
                </c:pt>
                <c:pt idx="617">
                  <c:v>1250.45</c:v>
                </c:pt>
                <c:pt idx="618">
                  <c:v>1243.76</c:v>
                </c:pt>
                <c:pt idx="619">
                  <c:v>1252.99</c:v>
                </c:pt>
                <c:pt idx="620">
                  <c:v>1252.9000000000001</c:v>
                </c:pt>
                <c:pt idx="621">
                  <c:v>1263.9100000000001</c:v>
                </c:pt>
                <c:pt idx="622">
                  <c:v>1258.21</c:v>
                </c:pt>
                <c:pt idx="623">
                  <c:v>1252.1300000000001</c:v>
                </c:pt>
                <c:pt idx="624">
                  <c:v>1225.76</c:v>
                </c:pt>
                <c:pt idx="625">
                  <c:v>1218.25</c:v>
                </c:pt>
                <c:pt idx="626">
                  <c:v>1217.79</c:v>
                </c:pt>
                <c:pt idx="627">
                  <c:v>1227.22</c:v>
                </c:pt>
                <c:pt idx="628">
                  <c:v>1224.07</c:v>
                </c:pt>
                <c:pt idx="629">
                  <c:v>1227.3699999999999</c:v>
                </c:pt>
                <c:pt idx="630">
                  <c:v>1210.33</c:v>
                </c:pt>
                <c:pt idx="631">
                  <c:v>1190.08</c:v>
                </c:pt>
                <c:pt idx="632">
                  <c:v>1178.02</c:v>
                </c:pt>
                <c:pt idx="633">
                  <c:v>1198.72</c:v>
                </c:pt>
                <c:pt idx="634">
                  <c:v>1205.95</c:v>
                </c:pt>
                <c:pt idx="635">
                  <c:v>1207.46</c:v>
                </c:pt>
                <c:pt idx="636">
                  <c:v>1221.3399999999999</c:v>
                </c:pt>
                <c:pt idx="637">
                  <c:v>1216.21</c:v>
                </c:pt>
                <c:pt idx="638">
                  <c:v>1205.8599999999999</c:v>
                </c:pt>
                <c:pt idx="639">
                  <c:v>1208.58</c:v>
                </c:pt>
                <c:pt idx="640">
                  <c:v>1210.17</c:v>
                </c:pt>
                <c:pt idx="641">
                  <c:v>1217.3900000000001</c:v>
                </c:pt>
                <c:pt idx="642">
                  <c:v>1232.1500000000001</c:v>
                </c:pt>
                <c:pt idx="643">
                  <c:v>1243.8399999999999</c:v>
                </c:pt>
                <c:pt idx="644">
                  <c:v>1246.54</c:v>
                </c:pt>
                <c:pt idx="645">
                  <c:v>1252.92</c:v>
                </c:pt>
                <c:pt idx="646">
                  <c:v>1247.8699999999999</c:v>
                </c:pt>
                <c:pt idx="647">
                  <c:v>1243.57</c:v>
                </c:pt>
                <c:pt idx="648">
                  <c:v>1260.8800000000001</c:v>
                </c:pt>
                <c:pt idx="649">
                  <c:v>1269.98</c:v>
                </c:pt>
                <c:pt idx="650">
                  <c:v>1270.22</c:v>
                </c:pt>
                <c:pt idx="651">
                  <c:v>1272.54</c:v>
                </c:pt>
                <c:pt idx="652">
                  <c:v>1272.6199999999999</c:v>
                </c:pt>
                <c:pt idx="653">
                  <c:v>1268.74</c:v>
                </c:pt>
                <c:pt idx="654">
                  <c:v>1275.06</c:v>
                </c:pt>
                <c:pt idx="655">
                  <c:v>1292.1300000000001</c:v>
                </c:pt>
                <c:pt idx="656">
                  <c:v>1282.3399999999999</c:v>
                </c:pt>
                <c:pt idx="657">
                  <c:v>1287.1600000000001</c:v>
                </c:pt>
                <c:pt idx="658">
                  <c:v>1300.97</c:v>
                </c:pt>
                <c:pt idx="659">
                  <c:v>1308.47</c:v>
                </c:pt>
                <c:pt idx="660">
                  <c:v>1303.7</c:v>
                </c:pt>
                <c:pt idx="661">
                  <c:v>1301.18</c:v>
                </c:pt>
                <c:pt idx="662">
                  <c:v>1299.23</c:v>
                </c:pt>
                <c:pt idx="663">
                  <c:v>1306.08</c:v>
                </c:pt>
                <c:pt idx="664">
                  <c:v>1309.81</c:v>
                </c:pt>
                <c:pt idx="665">
                  <c:v>1320.86</c:v>
                </c:pt>
                <c:pt idx="666">
                  <c:v>1321.27</c:v>
                </c:pt>
                <c:pt idx="667">
                  <c:v>1324.71</c:v>
                </c:pt>
                <c:pt idx="668">
                  <c:v>1326.77</c:v>
                </c:pt>
                <c:pt idx="669">
                  <c:v>1329.74</c:v>
                </c:pt>
                <c:pt idx="670">
                  <c:v>1329.52</c:v>
                </c:pt>
                <c:pt idx="671">
                  <c:v>1342.53</c:v>
                </c:pt>
                <c:pt idx="672">
                  <c:v>1349.93</c:v>
                </c:pt>
                <c:pt idx="673">
                  <c:v>1361.87</c:v>
                </c:pt>
                <c:pt idx="674">
                  <c:v>1359.85</c:v>
                </c:pt>
                <c:pt idx="675">
                  <c:v>1351</c:v>
                </c:pt>
                <c:pt idx="676">
                  <c:v>1343.14</c:v>
                </c:pt>
                <c:pt idx="677">
                  <c:v>1323.88</c:v>
                </c:pt>
                <c:pt idx="678">
                  <c:v>1297.68</c:v>
                </c:pt>
                <c:pt idx="679">
                  <c:v>1310.89</c:v>
                </c:pt>
                <c:pt idx="680">
                  <c:v>1318.43</c:v>
                </c:pt>
                <c:pt idx="681">
                  <c:v>1313.25</c:v>
                </c:pt>
                <c:pt idx="682">
                  <c:v>1296.53</c:v>
                </c:pt>
                <c:pt idx="683">
                  <c:v>1297.8800000000001</c:v>
                </c:pt>
                <c:pt idx="684">
                  <c:v>1295.8399999999999</c:v>
                </c:pt>
                <c:pt idx="685">
                  <c:v>1297.42</c:v>
                </c:pt>
                <c:pt idx="686">
                  <c:v>1308.57</c:v>
                </c:pt>
                <c:pt idx="687">
                  <c:v>1317.47</c:v>
                </c:pt>
                <c:pt idx="688">
                  <c:v>1331.27</c:v>
                </c:pt>
                <c:pt idx="689">
                  <c:v>1320.63</c:v>
                </c:pt>
                <c:pt idx="690">
                  <c:v>1339.95</c:v>
                </c:pt>
                <c:pt idx="691">
                  <c:v>1336</c:v>
                </c:pt>
                <c:pt idx="692">
                  <c:v>1334.26</c:v>
                </c:pt>
                <c:pt idx="693">
                  <c:v>1349.87</c:v>
                </c:pt>
                <c:pt idx="694">
                  <c:v>1341.62</c:v>
                </c:pt>
                <c:pt idx="695">
                  <c:v>1341.29</c:v>
                </c:pt>
                <c:pt idx="696">
                  <c:v>1356.54</c:v>
                </c:pt>
                <c:pt idx="697">
                  <c:v>1358.27</c:v>
                </c:pt>
                <c:pt idx="698">
                  <c:v>1332.86</c:v>
                </c:pt>
                <c:pt idx="699">
                  <c:v>1334.25</c:v>
                </c:pt>
                <c:pt idx="700">
                  <c:v>1342.65</c:v>
                </c:pt>
                <c:pt idx="701">
                  <c:v>1356.56</c:v>
                </c:pt>
                <c:pt idx="702">
                  <c:v>1367.57</c:v>
                </c:pt>
                <c:pt idx="703">
                  <c:v>1368.84</c:v>
                </c:pt>
                <c:pt idx="704">
                  <c:v>1358.81</c:v>
                </c:pt>
                <c:pt idx="705">
                  <c:v>1346.83</c:v>
                </c:pt>
                <c:pt idx="706">
                  <c:v>1361.24</c:v>
                </c:pt>
                <c:pt idx="707">
                  <c:v>1354.9</c:v>
                </c:pt>
                <c:pt idx="708">
                  <c:v>1343.61</c:v>
                </c:pt>
                <c:pt idx="709">
                  <c:v>1342.58</c:v>
                </c:pt>
                <c:pt idx="710">
                  <c:v>1333.72</c:v>
                </c:pt>
                <c:pt idx="711">
                  <c:v>1337.27</c:v>
                </c:pt>
                <c:pt idx="712">
                  <c:v>1333.52</c:v>
                </c:pt>
                <c:pt idx="713">
                  <c:v>1327.53</c:v>
                </c:pt>
                <c:pt idx="714">
                  <c:v>1329.4</c:v>
                </c:pt>
                <c:pt idx="715">
                  <c:v>1324.85</c:v>
                </c:pt>
                <c:pt idx="716">
                  <c:v>1327.05</c:v>
                </c:pt>
                <c:pt idx="717">
                  <c:v>1318.05</c:v>
                </c:pt>
                <c:pt idx="718">
                  <c:v>1303.99</c:v>
                </c:pt>
                <c:pt idx="719">
                  <c:v>1302.49</c:v>
                </c:pt>
                <c:pt idx="720">
                  <c:v>1306.02</c:v>
                </c:pt>
                <c:pt idx="721">
                  <c:v>1302.33</c:v>
                </c:pt>
                <c:pt idx="722">
                  <c:v>1300.6600000000001</c:v>
                </c:pt>
                <c:pt idx="723">
                  <c:v>1318.77</c:v>
                </c:pt>
                <c:pt idx="724">
                  <c:v>1319.5</c:v>
                </c:pt>
                <c:pt idx="725">
                  <c:v>1325.55</c:v>
                </c:pt>
                <c:pt idx="726">
                  <c:v>1329.96</c:v>
                </c:pt>
                <c:pt idx="727">
                  <c:v>1333.84</c:v>
                </c:pt>
                <c:pt idx="728">
                  <c:v>1329.36</c:v>
                </c:pt>
                <c:pt idx="729">
                  <c:v>1325.45</c:v>
                </c:pt>
                <c:pt idx="730">
                  <c:v>1334.98</c:v>
                </c:pt>
                <c:pt idx="731">
                  <c:v>1344.89</c:v>
                </c:pt>
                <c:pt idx="732">
                  <c:v>1343.09</c:v>
                </c:pt>
                <c:pt idx="733">
                  <c:v>1338.28</c:v>
                </c:pt>
                <c:pt idx="734">
                  <c:v>1341.7</c:v>
                </c:pt>
                <c:pt idx="735">
                  <c:v>1353.63</c:v>
                </c:pt>
                <c:pt idx="736">
                  <c:v>1361.74</c:v>
                </c:pt>
                <c:pt idx="737">
                  <c:v>1353.86</c:v>
                </c:pt>
                <c:pt idx="738">
                  <c:v>1341.59</c:v>
                </c:pt>
                <c:pt idx="739">
                  <c:v>1355.99</c:v>
                </c:pt>
                <c:pt idx="740">
                  <c:v>1359.6</c:v>
                </c:pt>
                <c:pt idx="741">
                  <c:v>1356.12</c:v>
                </c:pt>
                <c:pt idx="742">
                  <c:v>1350.88</c:v>
                </c:pt>
                <c:pt idx="743">
                  <c:v>1352.53</c:v>
                </c:pt>
                <c:pt idx="744">
                  <c:v>1353.99</c:v>
                </c:pt>
                <c:pt idx="745">
                  <c:v>1353.7</c:v>
                </c:pt>
                <c:pt idx="746">
                  <c:v>1341.79</c:v>
                </c:pt>
                <c:pt idx="747">
                  <c:v>1337.28</c:v>
                </c:pt>
                <c:pt idx="748">
                  <c:v>1340.34</c:v>
                </c:pt>
                <c:pt idx="749">
                  <c:v>1346.01</c:v>
                </c:pt>
                <c:pt idx="750">
                  <c:v>1346.15</c:v>
                </c:pt>
                <c:pt idx="751">
                  <c:v>1350.43</c:v>
                </c:pt>
                <c:pt idx="752">
                  <c:v>1347.65</c:v>
                </c:pt>
                <c:pt idx="753">
                  <c:v>1352.83</c:v>
                </c:pt>
                <c:pt idx="754" formatCode="0.00">
                  <c:v>1354.13</c:v>
                </c:pt>
                <c:pt idx="755" formatCode="0.00">
                  <c:v>1331.78</c:v>
                </c:pt>
                <c:pt idx="756" formatCode="0.00">
                  <c:v>1305.28</c:v>
                </c:pt>
                <c:pt idx="757" formatCode="0.00">
                  <c:v>1332.22</c:v>
                </c:pt>
                <c:pt idx="758" formatCode="0.00">
                  <c:v>1350.57</c:v>
                </c:pt>
                <c:pt idx="759" formatCode="0.00">
                  <c:v>1348.97</c:v>
                </c:pt>
                <c:pt idx="760" formatCode="0.00">
                  <c:v>1355.3</c:v>
                </c:pt>
                <c:pt idx="761" formatCode="0.00">
                  <c:v>1359.89</c:v>
                </c:pt>
                <c:pt idx="762" formatCode="0.00">
                  <c:v>1365.66</c:v>
                </c:pt>
                <c:pt idx="763" formatCode="0.00">
                  <c:v>1373.13</c:v>
                </c:pt>
                <c:pt idx="764" formatCode="0.00">
                  <c:v>1382.94</c:v>
                </c:pt>
                <c:pt idx="765" formatCode="0.00">
                  <c:v>1389.38</c:v>
                </c:pt>
                <c:pt idx="766" formatCode="0.00">
                  <c:v>1385.77</c:v>
                </c:pt>
                <c:pt idx="767" formatCode="0.00">
                  <c:v>1381.22</c:v>
                </c:pt>
                <c:pt idx="768" formatCode="0.00">
                  <c:v>1386.69</c:v>
                </c:pt>
                <c:pt idx="769" formatCode="0.00">
                  <c:v>1384.73</c:v>
                </c:pt>
                <c:pt idx="770" formatCode="0.00">
                  <c:v>1401.28</c:v>
                </c:pt>
                <c:pt idx="771" formatCode="0.00">
                  <c:v>1395.01</c:v>
                </c:pt>
                <c:pt idx="772" formatCode="0.00">
                  <c:v>1393.16</c:v>
                </c:pt>
                <c:pt idx="773" formatCode="0.00">
                  <c:v>1379.17</c:v>
                </c:pt>
                <c:pt idx="774" formatCode="0.00">
                  <c:v>1380.9</c:v>
                </c:pt>
                <c:pt idx="775">
                  <c:v>1380.62</c:v>
                </c:pt>
                <c:pt idx="776">
                  <c:v>1366.86</c:v>
                </c:pt>
                <c:pt idx="777">
                  <c:v>1365.82</c:v>
                </c:pt>
                <c:pt idx="778">
                  <c:v>1362.7</c:v>
                </c:pt>
                <c:pt idx="779">
                  <c:v>1361.84</c:v>
                </c:pt>
                <c:pt idx="780">
                  <c:v>1360.12</c:v>
                </c:pt>
                <c:pt idx="781">
                  <c:v>1354.52</c:v>
                </c:pt>
                <c:pt idx="782">
                  <c:v>1360.41</c:v>
                </c:pt>
                <c:pt idx="783">
                  <c:v>1365.98</c:v>
                </c:pt>
                <c:pt idx="784">
                  <c:v>1365.33</c:v>
                </c:pt>
                <c:pt idx="785">
                  <c:v>1364.82</c:v>
                </c:pt>
                <c:pt idx="786">
                  <c:v>1364.67</c:v>
                </c:pt>
                <c:pt idx="787">
                  <c:v>1377.7</c:v>
                </c:pt>
                <c:pt idx="788">
                  <c:v>1390.19</c:v>
                </c:pt>
                <c:pt idx="789">
                  <c:v>1383.06</c:v>
                </c:pt>
                <c:pt idx="790">
                  <c:v>1373.01</c:v>
                </c:pt>
                <c:pt idx="791">
                  <c:v>1392.94</c:v>
                </c:pt>
                <c:pt idx="792">
                  <c:v>1379.83</c:v>
                </c:pt>
                <c:pt idx="793">
                  <c:v>1368.34</c:v>
                </c:pt>
                <c:pt idx="794">
                  <c:v>1372.87</c:v>
                </c:pt>
                <c:pt idx="795">
                  <c:v>1367.78</c:v>
                </c:pt>
                <c:pt idx="796">
                  <c:v>1361.13</c:v>
                </c:pt>
                <c:pt idx="797">
                  <c:v>1355.44</c:v>
                </c:pt>
                <c:pt idx="798">
                  <c:v>1367.31</c:v>
                </c:pt>
                <c:pt idx="799">
                  <c:v>1379.46</c:v>
                </c:pt>
                <c:pt idx="800">
                  <c:v>1365.07</c:v>
                </c:pt>
                <c:pt idx="801">
                  <c:v>1364.71</c:v>
                </c:pt>
                <c:pt idx="802">
                  <c:v>1382.58</c:v>
                </c:pt>
                <c:pt idx="803">
                  <c:v>1386.64</c:v>
                </c:pt>
                <c:pt idx="804">
                  <c:v>1386.6</c:v>
                </c:pt>
                <c:pt idx="805">
                  <c:v>1395.65</c:v>
                </c:pt>
                <c:pt idx="806">
                  <c:v>1400.81</c:v>
                </c:pt>
                <c:pt idx="807">
                  <c:v>1404.16</c:v>
                </c:pt>
                <c:pt idx="808">
                  <c:v>1420.76</c:v>
                </c:pt>
                <c:pt idx="809">
                  <c:v>1421.48</c:v>
                </c:pt>
                <c:pt idx="810">
                  <c:v>1435.64</c:v>
                </c:pt>
                <c:pt idx="811">
                  <c:v>1443.83</c:v>
                </c:pt>
                <c:pt idx="812">
                  <c:v>1420.44</c:v>
                </c:pt>
                <c:pt idx="813">
                  <c:v>1428.94</c:v>
                </c:pt>
                <c:pt idx="814">
                  <c:v>1436.75</c:v>
                </c:pt>
                <c:pt idx="815">
                  <c:v>1443.33</c:v>
                </c:pt>
                <c:pt idx="816">
                  <c:v>1437.14</c:v>
                </c:pt>
                <c:pt idx="817">
                  <c:v>1433.81</c:v>
                </c:pt>
                <c:pt idx="818">
                  <c:v>1427.42</c:v>
                </c:pt>
                <c:pt idx="819">
                  <c:v>1413.18</c:v>
                </c:pt>
                <c:pt idx="820">
                  <c:v>1428.28</c:v>
                </c:pt>
                <c:pt idx="821">
                  <c:v>1446.79</c:v>
                </c:pt>
                <c:pt idx="822">
                  <c:v>1453.9</c:v>
                </c:pt>
                <c:pt idx="823">
                  <c:v>1463.08</c:v>
                </c:pt>
                <c:pt idx="824">
                  <c:v>1469.98</c:v>
                </c:pt>
                <c:pt idx="825">
                  <c:v>1464.89</c:v>
                </c:pt>
                <c:pt idx="826">
                  <c:v>1458.29</c:v>
                </c:pt>
                <c:pt idx="827">
                  <c:v>1465.54</c:v>
                </c:pt>
                <c:pt idx="828">
                  <c:v>1474.51</c:v>
                </c:pt>
                <c:pt idx="829">
                  <c:v>1481.5</c:v>
                </c:pt>
                <c:pt idx="830">
                  <c:v>1477.22</c:v>
                </c:pt>
                <c:pt idx="831">
                  <c:v>1487.33</c:v>
                </c:pt>
                <c:pt idx="832">
                  <c:v>1473.74</c:v>
                </c:pt>
                <c:pt idx="833">
                  <c:v>1473.35</c:v>
                </c:pt>
                <c:pt idx="834">
                  <c:v>1468.85</c:v>
                </c:pt>
                <c:pt idx="835">
                  <c:v>1470.11</c:v>
                </c:pt>
                <c:pt idx="836">
                  <c:v>1476.36</c:v>
                </c:pt>
                <c:pt idx="837">
                  <c:v>1481.58</c:v>
                </c:pt>
                <c:pt idx="838">
                  <c:v>1503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CA-493B-A967-33A4DAC6175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259168640"/>
        <c:axId val="1110479008"/>
      </c:lineChart>
      <c:dateAx>
        <c:axId val="1259168640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110479008"/>
        <c:crosses val="autoZero"/>
        <c:auto val="0"/>
        <c:lblOffset val="100"/>
        <c:baseTimeUnit val="days"/>
        <c:majorUnit val="1"/>
        <c:majorTimeUnit val="years"/>
        <c:minorUnit val="1"/>
        <c:minorTimeUnit val="years"/>
      </c:dateAx>
      <c:valAx>
        <c:axId val="1110479008"/>
        <c:scaling>
          <c:orientation val="minMax"/>
          <c:min val="700"/>
        </c:scaling>
        <c:delete val="1"/>
        <c:axPos val="l"/>
        <c:numFmt formatCode="General" sourceLinked="1"/>
        <c:majorTickMark val="out"/>
        <c:minorTickMark val="none"/>
        <c:tickLblPos val="nextTo"/>
        <c:crossAx val="1259168640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8E4-43C1-8995-C85A37862607}"/>
              </c:ext>
            </c:extLst>
          </c:dPt>
          <c:dPt>
            <c:idx val="1"/>
            <c:bubble3D val="0"/>
            <c:spPr>
              <a:solidFill>
                <a:srgbClr val="00245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8E4-43C1-8995-C85A37862607}"/>
              </c:ext>
            </c:extLst>
          </c:dPt>
          <c:dPt>
            <c:idx val="2"/>
            <c:bubble3D val="0"/>
            <c:spPr>
              <a:solidFill>
                <a:srgbClr val="00586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8E4-43C1-8995-C85A37862607}"/>
              </c:ext>
            </c:extLst>
          </c:dPt>
          <c:dPt>
            <c:idx val="3"/>
            <c:bubble3D val="0"/>
            <c:spPr>
              <a:solidFill>
                <a:srgbClr val="00829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8E4-43C1-8995-C85A37862607}"/>
              </c:ext>
            </c:extLst>
          </c:dPt>
          <c:dPt>
            <c:idx val="4"/>
            <c:bubble3D val="0"/>
            <c:spPr>
              <a:solidFill>
                <a:srgbClr val="549E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8E4-43C1-8995-C85A37862607}"/>
              </c:ext>
            </c:extLst>
          </c:dPt>
          <c:dPt>
            <c:idx val="5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8E4-43C1-8995-C85A37862607}"/>
              </c:ext>
            </c:extLst>
          </c:dPt>
          <c:dPt>
            <c:idx val="6"/>
            <c:bubble3D val="0"/>
            <c:spPr>
              <a:solidFill>
                <a:srgbClr val="26A6B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8E4-43C1-8995-C85A37862607}"/>
              </c:ext>
            </c:extLst>
          </c:dPt>
          <c:dPt>
            <c:idx val="7"/>
            <c:bubble3D val="0"/>
            <c:spPr>
              <a:solidFill>
                <a:srgbClr val="82C6D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8E4-43C1-8995-C85A37862607}"/>
              </c:ext>
            </c:extLst>
          </c:dPt>
          <c:dPt>
            <c:idx val="8"/>
            <c:bubble3D val="0"/>
            <c:spPr>
              <a:solidFill>
                <a:srgbClr val="BFE1E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B8E4-43C1-8995-C85A37862607}"/>
              </c:ext>
            </c:extLst>
          </c:dPt>
          <c:dPt>
            <c:idx val="9"/>
            <c:bubble3D val="0"/>
            <c:spPr>
              <a:solidFill>
                <a:srgbClr val="B4C7E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B8E4-43C1-8995-C85A37862607}"/>
              </c:ext>
            </c:extLst>
          </c:dPt>
          <c:dPt>
            <c:idx val="10"/>
            <c:bubble3D val="0"/>
            <c:spPr>
              <a:solidFill>
                <a:srgbClr val="8FAA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B8E4-43C1-8995-C85A37862607}"/>
              </c:ext>
            </c:extLst>
          </c:dPt>
          <c:dPt>
            <c:idx val="11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B8E4-43C1-8995-C85A37862607}"/>
              </c:ext>
            </c:extLst>
          </c:dPt>
          <c:dPt>
            <c:idx val="1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B8E4-43C1-8995-C85A37862607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B4FB0348-8448-4D15-8210-7D77987C0EF2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8E4-43C1-8995-C85A3786260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E7B3CD1-7EE7-4283-8F1C-AA12B3A6E0EE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8E4-43C1-8995-C85A3786260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31C45FF-4767-4EE0-8D2A-75BD196CB20D}" type="VALUE">
                      <a:rPr lang="en-US" smtClean="0"/>
                      <a:pPr/>
                      <a:t>[ЗНАЧЕНИЕ]</a:t>
                    </a:fld>
                    <a:endParaRPr lang="ru-KZ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B8E4-43C1-8995-C85A3786260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B8E4-43C1-8995-C85A3786260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B8E4-43C1-8995-C85A3786260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B8E4-43C1-8995-C85A3786260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B8E4-43C1-8995-C85A3786260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B8E4-43C1-8995-C85A378626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Freedom Holding Corp</c:v>
                </c:pt>
                <c:pt idx="1">
                  <c:v>KazMunayGas</c:v>
                </c:pt>
                <c:pt idx="2">
                  <c:v>NAC Kazatomprom</c:v>
                </c:pt>
                <c:pt idx="3">
                  <c:v>Kaspi</c:v>
                </c:pt>
                <c:pt idx="4">
                  <c:v>Halyk Bank</c:v>
                </c:pt>
                <c:pt idx="5">
                  <c:v>Polymetal</c:v>
                </c:pt>
                <c:pt idx="6">
                  <c:v>Kcell</c:v>
                </c:pt>
                <c:pt idx="7">
                  <c:v>Kazakhtelecom</c:v>
                </c:pt>
                <c:pt idx="8">
                  <c:v>KEGOC</c:v>
                </c:pt>
                <c:pt idx="9">
                  <c:v>Bank CenterCredit</c:v>
                </c:pt>
                <c:pt idx="10">
                  <c:v>Air Astana</c:v>
                </c:pt>
                <c:pt idx="11">
                  <c:v>KazTransOil</c:v>
                </c:pt>
                <c:pt idx="12">
                  <c:v>Central Asia Metal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15</c:v>
                </c:pt>
                <c:pt idx="1">
                  <c:v>0.15</c:v>
                </c:pt>
                <c:pt idx="2">
                  <c:v>0.15</c:v>
                </c:pt>
                <c:pt idx="3">
                  <c:v>0.15</c:v>
                </c:pt>
                <c:pt idx="4">
                  <c:v>0.1057</c:v>
                </c:pt>
                <c:pt idx="5">
                  <c:v>8.3099999999999993E-2</c:v>
                </c:pt>
                <c:pt idx="6">
                  <c:v>5.3699999999999998E-2</c:v>
                </c:pt>
                <c:pt idx="7">
                  <c:v>3.1699999999999999E-2</c:v>
                </c:pt>
                <c:pt idx="8">
                  <c:v>2.86E-2</c:v>
                </c:pt>
                <c:pt idx="9">
                  <c:v>3.0499999999999999E-2</c:v>
                </c:pt>
                <c:pt idx="10">
                  <c:v>2.8199999999999999E-2</c:v>
                </c:pt>
                <c:pt idx="11">
                  <c:v>2.2100000000000002E-2</c:v>
                </c:pt>
                <c:pt idx="12">
                  <c:v>1.64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B8E4-43C1-8995-C85A378626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72451198801504E-2"/>
          <c:y val="4.6698871170951631E-2"/>
          <c:w val="0.88985509760239712"/>
          <c:h val="0.83074483863818471"/>
        </c:manualLayout>
      </c:layout>
      <c:lineChart>
        <c:grouping val="standard"/>
        <c:varyColors val="0"/>
        <c:ser>
          <c:idx val="0"/>
          <c:order val="0"/>
          <c:spPr>
            <a:ln w="19050" cap="rnd">
              <a:solidFill>
                <a:srgbClr val="4BB5C8"/>
              </a:solidFill>
              <a:round/>
            </a:ln>
            <a:effectLst/>
          </c:spPr>
          <c:marker>
            <c:symbol val="none"/>
          </c:marker>
          <c:cat>
            <c:numRef>
              <c:f>Sheet1!$F$17:$BCJ$17</c:f>
              <c:numCache>
                <c:formatCode>m/d/yy;@</c:formatCode>
                <c:ptCount val="1435"/>
                <c:pt idx="0">
                  <c:v>43418</c:v>
                </c:pt>
                <c:pt idx="1">
                  <c:v>43419</c:v>
                </c:pt>
                <c:pt idx="2">
                  <c:v>43420</c:v>
                </c:pt>
                <c:pt idx="3">
                  <c:v>43423</c:v>
                </c:pt>
                <c:pt idx="4">
                  <c:v>43424</c:v>
                </c:pt>
                <c:pt idx="5">
                  <c:v>43425</c:v>
                </c:pt>
                <c:pt idx="6">
                  <c:v>43426</c:v>
                </c:pt>
                <c:pt idx="7">
                  <c:v>43427</c:v>
                </c:pt>
                <c:pt idx="8">
                  <c:v>43430</c:v>
                </c:pt>
                <c:pt idx="9">
                  <c:v>43431</c:v>
                </c:pt>
                <c:pt idx="10">
                  <c:v>43432</c:v>
                </c:pt>
                <c:pt idx="11">
                  <c:v>43433</c:v>
                </c:pt>
                <c:pt idx="12">
                  <c:v>43434</c:v>
                </c:pt>
                <c:pt idx="13">
                  <c:v>43438</c:v>
                </c:pt>
                <c:pt idx="14">
                  <c:v>43439</c:v>
                </c:pt>
                <c:pt idx="15">
                  <c:v>43440</c:v>
                </c:pt>
                <c:pt idx="16">
                  <c:v>43441</c:v>
                </c:pt>
                <c:pt idx="17">
                  <c:v>43444</c:v>
                </c:pt>
                <c:pt idx="18">
                  <c:v>43445</c:v>
                </c:pt>
                <c:pt idx="19">
                  <c:v>43446</c:v>
                </c:pt>
                <c:pt idx="20">
                  <c:v>43447</c:v>
                </c:pt>
                <c:pt idx="21">
                  <c:v>43448</c:v>
                </c:pt>
                <c:pt idx="22">
                  <c:v>43453</c:v>
                </c:pt>
                <c:pt idx="23">
                  <c:v>43454</c:v>
                </c:pt>
                <c:pt idx="24">
                  <c:v>43455</c:v>
                </c:pt>
                <c:pt idx="25">
                  <c:v>43458</c:v>
                </c:pt>
                <c:pt idx="26">
                  <c:v>43459</c:v>
                </c:pt>
                <c:pt idx="27">
                  <c:v>43460</c:v>
                </c:pt>
                <c:pt idx="28">
                  <c:v>43461</c:v>
                </c:pt>
                <c:pt idx="29">
                  <c:v>43462</c:v>
                </c:pt>
                <c:pt idx="30">
                  <c:v>43468</c:v>
                </c:pt>
                <c:pt idx="31">
                  <c:v>43469</c:v>
                </c:pt>
                <c:pt idx="32">
                  <c:v>43473</c:v>
                </c:pt>
                <c:pt idx="33">
                  <c:v>43474</c:v>
                </c:pt>
                <c:pt idx="34">
                  <c:v>43475</c:v>
                </c:pt>
                <c:pt idx="35">
                  <c:v>43476</c:v>
                </c:pt>
                <c:pt idx="36">
                  <c:v>43479</c:v>
                </c:pt>
                <c:pt idx="37">
                  <c:v>43480</c:v>
                </c:pt>
                <c:pt idx="38">
                  <c:v>43481</c:v>
                </c:pt>
                <c:pt idx="39">
                  <c:v>43482</c:v>
                </c:pt>
                <c:pt idx="40">
                  <c:v>43483</c:v>
                </c:pt>
                <c:pt idx="41">
                  <c:v>43486</c:v>
                </c:pt>
                <c:pt idx="42">
                  <c:v>43487</c:v>
                </c:pt>
                <c:pt idx="43">
                  <c:v>43488</c:v>
                </c:pt>
                <c:pt idx="44">
                  <c:v>43489</c:v>
                </c:pt>
                <c:pt idx="45">
                  <c:v>43490</c:v>
                </c:pt>
                <c:pt idx="46">
                  <c:v>43493</c:v>
                </c:pt>
                <c:pt idx="47">
                  <c:v>43494</c:v>
                </c:pt>
                <c:pt idx="48">
                  <c:v>43495</c:v>
                </c:pt>
                <c:pt idx="49">
                  <c:v>43497</c:v>
                </c:pt>
                <c:pt idx="50">
                  <c:v>43500</c:v>
                </c:pt>
                <c:pt idx="51">
                  <c:v>43501</c:v>
                </c:pt>
                <c:pt idx="52">
                  <c:v>43502</c:v>
                </c:pt>
                <c:pt idx="53">
                  <c:v>43503</c:v>
                </c:pt>
                <c:pt idx="54">
                  <c:v>43504</c:v>
                </c:pt>
                <c:pt idx="55">
                  <c:v>43507</c:v>
                </c:pt>
                <c:pt idx="56">
                  <c:v>43508</c:v>
                </c:pt>
                <c:pt idx="57">
                  <c:v>43509</c:v>
                </c:pt>
                <c:pt idx="58">
                  <c:v>43510</c:v>
                </c:pt>
                <c:pt idx="59">
                  <c:v>43511</c:v>
                </c:pt>
                <c:pt idx="60">
                  <c:v>43514</c:v>
                </c:pt>
                <c:pt idx="61">
                  <c:v>43515</c:v>
                </c:pt>
                <c:pt idx="62">
                  <c:v>43516</c:v>
                </c:pt>
                <c:pt idx="63">
                  <c:v>43517</c:v>
                </c:pt>
                <c:pt idx="64">
                  <c:v>43518</c:v>
                </c:pt>
                <c:pt idx="65">
                  <c:v>43521</c:v>
                </c:pt>
                <c:pt idx="66">
                  <c:v>43522</c:v>
                </c:pt>
                <c:pt idx="67">
                  <c:v>43523</c:v>
                </c:pt>
                <c:pt idx="68">
                  <c:v>43524</c:v>
                </c:pt>
                <c:pt idx="69">
                  <c:v>43525</c:v>
                </c:pt>
                <c:pt idx="70">
                  <c:v>43527</c:v>
                </c:pt>
                <c:pt idx="71">
                  <c:v>43528</c:v>
                </c:pt>
                <c:pt idx="72">
                  <c:v>43529</c:v>
                </c:pt>
                <c:pt idx="73">
                  <c:v>43530</c:v>
                </c:pt>
                <c:pt idx="74">
                  <c:v>43531</c:v>
                </c:pt>
                <c:pt idx="75">
                  <c:v>43535</c:v>
                </c:pt>
                <c:pt idx="76">
                  <c:v>43536</c:v>
                </c:pt>
                <c:pt idx="77">
                  <c:v>43537</c:v>
                </c:pt>
                <c:pt idx="78">
                  <c:v>43538</c:v>
                </c:pt>
                <c:pt idx="79">
                  <c:v>43539</c:v>
                </c:pt>
                <c:pt idx="80">
                  <c:v>43542</c:v>
                </c:pt>
                <c:pt idx="81">
                  <c:v>43543</c:v>
                </c:pt>
                <c:pt idx="82">
                  <c:v>43544</c:v>
                </c:pt>
                <c:pt idx="83">
                  <c:v>43550</c:v>
                </c:pt>
                <c:pt idx="84">
                  <c:v>43551</c:v>
                </c:pt>
                <c:pt idx="85">
                  <c:v>43552</c:v>
                </c:pt>
                <c:pt idx="86">
                  <c:v>43553</c:v>
                </c:pt>
                <c:pt idx="87">
                  <c:v>43556</c:v>
                </c:pt>
                <c:pt idx="88">
                  <c:v>43557</c:v>
                </c:pt>
                <c:pt idx="89">
                  <c:v>43558</c:v>
                </c:pt>
                <c:pt idx="90">
                  <c:v>43559</c:v>
                </c:pt>
                <c:pt idx="91">
                  <c:v>43560</c:v>
                </c:pt>
                <c:pt idx="92">
                  <c:v>43563</c:v>
                </c:pt>
                <c:pt idx="93">
                  <c:v>43564</c:v>
                </c:pt>
                <c:pt idx="94">
                  <c:v>43565</c:v>
                </c:pt>
                <c:pt idx="95">
                  <c:v>43566</c:v>
                </c:pt>
                <c:pt idx="96">
                  <c:v>43567</c:v>
                </c:pt>
                <c:pt idx="97">
                  <c:v>43570</c:v>
                </c:pt>
                <c:pt idx="98">
                  <c:v>43571</c:v>
                </c:pt>
                <c:pt idx="99">
                  <c:v>43572</c:v>
                </c:pt>
                <c:pt idx="100">
                  <c:v>43573</c:v>
                </c:pt>
                <c:pt idx="101">
                  <c:v>43574</c:v>
                </c:pt>
                <c:pt idx="102">
                  <c:v>43577</c:v>
                </c:pt>
                <c:pt idx="103">
                  <c:v>43578</c:v>
                </c:pt>
                <c:pt idx="104">
                  <c:v>43579</c:v>
                </c:pt>
                <c:pt idx="105">
                  <c:v>43580</c:v>
                </c:pt>
                <c:pt idx="106">
                  <c:v>43581</c:v>
                </c:pt>
                <c:pt idx="107">
                  <c:v>43584</c:v>
                </c:pt>
                <c:pt idx="108">
                  <c:v>43585</c:v>
                </c:pt>
                <c:pt idx="109">
                  <c:v>43591</c:v>
                </c:pt>
                <c:pt idx="110">
                  <c:v>43593</c:v>
                </c:pt>
                <c:pt idx="111">
                  <c:v>43598</c:v>
                </c:pt>
                <c:pt idx="112">
                  <c:v>43599</c:v>
                </c:pt>
                <c:pt idx="113">
                  <c:v>43600</c:v>
                </c:pt>
                <c:pt idx="114">
                  <c:v>43601</c:v>
                </c:pt>
                <c:pt idx="115">
                  <c:v>43602</c:v>
                </c:pt>
                <c:pt idx="116">
                  <c:v>43605</c:v>
                </c:pt>
                <c:pt idx="117">
                  <c:v>43606</c:v>
                </c:pt>
                <c:pt idx="118">
                  <c:v>43607</c:v>
                </c:pt>
                <c:pt idx="119">
                  <c:v>43609</c:v>
                </c:pt>
                <c:pt idx="120">
                  <c:v>43612</c:v>
                </c:pt>
                <c:pt idx="121">
                  <c:v>43613</c:v>
                </c:pt>
                <c:pt idx="122">
                  <c:v>43614</c:v>
                </c:pt>
                <c:pt idx="123">
                  <c:v>43615</c:v>
                </c:pt>
                <c:pt idx="124">
                  <c:v>43616</c:v>
                </c:pt>
                <c:pt idx="125">
                  <c:v>43619</c:v>
                </c:pt>
                <c:pt idx="126">
                  <c:v>43620</c:v>
                </c:pt>
                <c:pt idx="127">
                  <c:v>43621</c:v>
                </c:pt>
                <c:pt idx="128">
                  <c:v>43622</c:v>
                </c:pt>
                <c:pt idx="129">
                  <c:v>43623</c:v>
                </c:pt>
                <c:pt idx="130">
                  <c:v>43626</c:v>
                </c:pt>
                <c:pt idx="131">
                  <c:v>43627</c:v>
                </c:pt>
                <c:pt idx="132">
                  <c:v>43628</c:v>
                </c:pt>
                <c:pt idx="133">
                  <c:v>43629</c:v>
                </c:pt>
                <c:pt idx="134">
                  <c:v>43630</c:v>
                </c:pt>
                <c:pt idx="135">
                  <c:v>43633</c:v>
                </c:pt>
                <c:pt idx="136">
                  <c:v>43634</c:v>
                </c:pt>
                <c:pt idx="137">
                  <c:v>43635</c:v>
                </c:pt>
                <c:pt idx="138">
                  <c:v>43636</c:v>
                </c:pt>
                <c:pt idx="139">
                  <c:v>43640</c:v>
                </c:pt>
                <c:pt idx="140">
                  <c:v>43641</c:v>
                </c:pt>
                <c:pt idx="141">
                  <c:v>43642</c:v>
                </c:pt>
                <c:pt idx="142">
                  <c:v>43643</c:v>
                </c:pt>
                <c:pt idx="143">
                  <c:v>43644</c:v>
                </c:pt>
                <c:pt idx="144">
                  <c:v>43647</c:v>
                </c:pt>
                <c:pt idx="145">
                  <c:v>43648</c:v>
                </c:pt>
                <c:pt idx="146">
                  <c:v>43649</c:v>
                </c:pt>
                <c:pt idx="147">
                  <c:v>43650</c:v>
                </c:pt>
                <c:pt idx="148">
                  <c:v>43651</c:v>
                </c:pt>
                <c:pt idx="149">
                  <c:v>43655</c:v>
                </c:pt>
                <c:pt idx="150">
                  <c:v>43656</c:v>
                </c:pt>
                <c:pt idx="151">
                  <c:v>43657</c:v>
                </c:pt>
                <c:pt idx="152">
                  <c:v>43658</c:v>
                </c:pt>
                <c:pt idx="153">
                  <c:v>43661</c:v>
                </c:pt>
                <c:pt idx="154">
                  <c:v>43662</c:v>
                </c:pt>
                <c:pt idx="155">
                  <c:v>43663</c:v>
                </c:pt>
                <c:pt idx="156">
                  <c:v>43664</c:v>
                </c:pt>
                <c:pt idx="157">
                  <c:v>43665</c:v>
                </c:pt>
                <c:pt idx="158">
                  <c:v>43668</c:v>
                </c:pt>
                <c:pt idx="159">
                  <c:v>43669</c:v>
                </c:pt>
                <c:pt idx="160">
                  <c:v>43670</c:v>
                </c:pt>
                <c:pt idx="161">
                  <c:v>43671</c:v>
                </c:pt>
                <c:pt idx="162">
                  <c:v>43672</c:v>
                </c:pt>
                <c:pt idx="163">
                  <c:v>43675</c:v>
                </c:pt>
                <c:pt idx="164">
                  <c:v>43676</c:v>
                </c:pt>
                <c:pt idx="165">
                  <c:v>43677</c:v>
                </c:pt>
                <c:pt idx="166">
                  <c:v>43678</c:v>
                </c:pt>
                <c:pt idx="167">
                  <c:v>43679</c:v>
                </c:pt>
                <c:pt idx="168">
                  <c:v>43682</c:v>
                </c:pt>
                <c:pt idx="169">
                  <c:v>43683</c:v>
                </c:pt>
                <c:pt idx="170">
                  <c:v>43684</c:v>
                </c:pt>
                <c:pt idx="171">
                  <c:v>43685</c:v>
                </c:pt>
                <c:pt idx="172">
                  <c:v>43686</c:v>
                </c:pt>
                <c:pt idx="173">
                  <c:v>43689</c:v>
                </c:pt>
                <c:pt idx="174">
                  <c:v>43690</c:v>
                </c:pt>
                <c:pt idx="175">
                  <c:v>43691</c:v>
                </c:pt>
                <c:pt idx="176">
                  <c:v>43692</c:v>
                </c:pt>
                <c:pt idx="177">
                  <c:v>43693</c:v>
                </c:pt>
                <c:pt idx="178">
                  <c:v>43696</c:v>
                </c:pt>
                <c:pt idx="179">
                  <c:v>43697</c:v>
                </c:pt>
                <c:pt idx="180">
                  <c:v>43698</c:v>
                </c:pt>
                <c:pt idx="181">
                  <c:v>43699</c:v>
                </c:pt>
                <c:pt idx="182">
                  <c:v>43700</c:v>
                </c:pt>
                <c:pt idx="183">
                  <c:v>43703</c:v>
                </c:pt>
                <c:pt idx="184">
                  <c:v>43706</c:v>
                </c:pt>
                <c:pt idx="185">
                  <c:v>43710</c:v>
                </c:pt>
                <c:pt idx="186">
                  <c:v>43711</c:v>
                </c:pt>
                <c:pt idx="187">
                  <c:v>43712</c:v>
                </c:pt>
                <c:pt idx="188">
                  <c:v>43713</c:v>
                </c:pt>
                <c:pt idx="189">
                  <c:v>43714</c:v>
                </c:pt>
                <c:pt idx="190">
                  <c:v>43717</c:v>
                </c:pt>
                <c:pt idx="191">
                  <c:v>43718</c:v>
                </c:pt>
                <c:pt idx="192">
                  <c:v>43719</c:v>
                </c:pt>
                <c:pt idx="193">
                  <c:v>43720</c:v>
                </c:pt>
                <c:pt idx="194">
                  <c:v>43721</c:v>
                </c:pt>
                <c:pt idx="195">
                  <c:v>43724</c:v>
                </c:pt>
                <c:pt idx="196">
                  <c:v>43725</c:v>
                </c:pt>
                <c:pt idx="197">
                  <c:v>43726</c:v>
                </c:pt>
                <c:pt idx="198">
                  <c:v>43727</c:v>
                </c:pt>
                <c:pt idx="199">
                  <c:v>43728</c:v>
                </c:pt>
                <c:pt idx="200">
                  <c:v>43731</c:v>
                </c:pt>
                <c:pt idx="201">
                  <c:v>43732</c:v>
                </c:pt>
                <c:pt idx="202">
                  <c:v>43733</c:v>
                </c:pt>
                <c:pt idx="203">
                  <c:v>43735</c:v>
                </c:pt>
                <c:pt idx="204">
                  <c:v>43738</c:v>
                </c:pt>
                <c:pt idx="205">
                  <c:v>43739</c:v>
                </c:pt>
                <c:pt idx="206">
                  <c:v>43740</c:v>
                </c:pt>
                <c:pt idx="207">
                  <c:v>43741</c:v>
                </c:pt>
                <c:pt idx="208">
                  <c:v>43742</c:v>
                </c:pt>
                <c:pt idx="209">
                  <c:v>43745</c:v>
                </c:pt>
                <c:pt idx="210">
                  <c:v>43746</c:v>
                </c:pt>
                <c:pt idx="211">
                  <c:v>43747</c:v>
                </c:pt>
                <c:pt idx="212">
                  <c:v>43748</c:v>
                </c:pt>
                <c:pt idx="213">
                  <c:v>43749</c:v>
                </c:pt>
                <c:pt idx="214">
                  <c:v>43752</c:v>
                </c:pt>
                <c:pt idx="215">
                  <c:v>43753</c:v>
                </c:pt>
                <c:pt idx="216">
                  <c:v>43754</c:v>
                </c:pt>
                <c:pt idx="217">
                  <c:v>43755</c:v>
                </c:pt>
                <c:pt idx="218">
                  <c:v>43756</c:v>
                </c:pt>
                <c:pt idx="219">
                  <c:v>43759</c:v>
                </c:pt>
                <c:pt idx="220">
                  <c:v>43760</c:v>
                </c:pt>
                <c:pt idx="221">
                  <c:v>43761</c:v>
                </c:pt>
                <c:pt idx="222">
                  <c:v>43762</c:v>
                </c:pt>
                <c:pt idx="223">
                  <c:v>43763</c:v>
                </c:pt>
                <c:pt idx="224">
                  <c:v>43767</c:v>
                </c:pt>
                <c:pt idx="225">
                  <c:v>43768</c:v>
                </c:pt>
                <c:pt idx="226">
                  <c:v>43769</c:v>
                </c:pt>
                <c:pt idx="227">
                  <c:v>43775</c:v>
                </c:pt>
                <c:pt idx="228">
                  <c:v>43776</c:v>
                </c:pt>
                <c:pt idx="229">
                  <c:v>43777</c:v>
                </c:pt>
                <c:pt idx="230">
                  <c:v>43780</c:v>
                </c:pt>
                <c:pt idx="231">
                  <c:v>43781</c:v>
                </c:pt>
                <c:pt idx="232">
                  <c:v>43782</c:v>
                </c:pt>
                <c:pt idx="233">
                  <c:v>43783</c:v>
                </c:pt>
                <c:pt idx="234">
                  <c:v>43787</c:v>
                </c:pt>
                <c:pt idx="235">
                  <c:v>43788</c:v>
                </c:pt>
                <c:pt idx="236">
                  <c:v>43789</c:v>
                </c:pt>
                <c:pt idx="237">
                  <c:v>43790</c:v>
                </c:pt>
                <c:pt idx="238">
                  <c:v>43791</c:v>
                </c:pt>
                <c:pt idx="239">
                  <c:v>43794</c:v>
                </c:pt>
                <c:pt idx="240">
                  <c:v>43795</c:v>
                </c:pt>
                <c:pt idx="241">
                  <c:v>43796</c:v>
                </c:pt>
                <c:pt idx="242">
                  <c:v>43797</c:v>
                </c:pt>
                <c:pt idx="243">
                  <c:v>43798</c:v>
                </c:pt>
                <c:pt idx="244">
                  <c:v>43802</c:v>
                </c:pt>
                <c:pt idx="245">
                  <c:v>43803</c:v>
                </c:pt>
                <c:pt idx="246">
                  <c:v>43804</c:v>
                </c:pt>
                <c:pt idx="247">
                  <c:v>43805</c:v>
                </c:pt>
                <c:pt idx="248">
                  <c:v>43808</c:v>
                </c:pt>
                <c:pt idx="249">
                  <c:v>43809</c:v>
                </c:pt>
                <c:pt idx="250">
                  <c:v>43810</c:v>
                </c:pt>
                <c:pt idx="251">
                  <c:v>43811</c:v>
                </c:pt>
                <c:pt idx="252">
                  <c:v>43812</c:v>
                </c:pt>
                <c:pt idx="253">
                  <c:v>43817</c:v>
                </c:pt>
                <c:pt idx="254">
                  <c:v>43818</c:v>
                </c:pt>
                <c:pt idx="255">
                  <c:v>43819</c:v>
                </c:pt>
                <c:pt idx="256">
                  <c:v>43822</c:v>
                </c:pt>
                <c:pt idx="257">
                  <c:v>43823</c:v>
                </c:pt>
                <c:pt idx="258">
                  <c:v>43824</c:v>
                </c:pt>
                <c:pt idx="259">
                  <c:v>43825</c:v>
                </c:pt>
                <c:pt idx="260">
                  <c:v>43826</c:v>
                </c:pt>
                <c:pt idx="261">
                  <c:v>43829</c:v>
                </c:pt>
                <c:pt idx="262">
                  <c:v>43830</c:v>
                </c:pt>
                <c:pt idx="263">
                  <c:v>43836</c:v>
                </c:pt>
                <c:pt idx="264">
                  <c:v>43838</c:v>
                </c:pt>
                <c:pt idx="265">
                  <c:v>43839</c:v>
                </c:pt>
                <c:pt idx="266">
                  <c:v>43840</c:v>
                </c:pt>
                <c:pt idx="267">
                  <c:v>43843</c:v>
                </c:pt>
                <c:pt idx="268">
                  <c:v>43845</c:v>
                </c:pt>
                <c:pt idx="269">
                  <c:v>43846</c:v>
                </c:pt>
                <c:pt idx="270">
                  <c:v>43847</c:v>
                </c:pt>
                <c:pt idx="271">
                  <c:v>43850</c:v>
                </c:pt>
                <c:pt idx="272">
                  <c:v>43851</c:v>
                </c:pt>
                <c:pt idx="273">
                  <c:v>43852</c:v>
                </c:pt>
                <c:pt idx="274">
                  <c:v>43853</c:v>
                </c:pt>
                <c:pt idx="275">
                  <c:v>43854</c:v>
                </c:pt>
                <c:pt idx="276">
                  <c:v>43857</c:v>
                </c:pt>
                <c:pt idx="277">
                  <c:v>43858</c:v>
                </c:pt>
                <c:pt idx="278">
                  <c:v>43859</c:v>
                </c:pt>
                <c:pt idx="279">
                  <c:v>43860</c:v>
                </c:pt>
                <c:pt idx="280">
                  <c:v>43861</c:v>
                </c:pt>
                <c:pt idx="281">
                  <c:v>43864</c:v>
                </c:pt>
                <c:pt idx="282">
                  <c:v>43865</c:v>
                </c:pt>
                <c:pt idx="283">
                  <c:v>43866</c:v>
                </c:pt>
                <c:pt idx="284">
                  <c:v>43867</c:v>
                </c:pt>
                <c:pt idx="285">
                  <c:v>43868</c:v>
                </c:pt>
                <c:pt idx="286">
                  <c:v>43871</c:v>
                </c:pt>
                <c:pt idx="287">
                  <c:v>43872</c:v>
                </c:pt>
                <c:pt idx="288">
                  <c:v>43873</c:v>
                </c:pt>
                <c:pt idx="289">
                  <c:v>43874</c:v>
                </c:pt>
                <c:pt idx="290">
                  <c:v>43875</c:v>
                </c:pt>
                <c:pt idx="291">
                  <c:v>43878</c:v>
                </c:pt>
                <c:pt idx="292">
                  <c:v>43879</c:v>
                </c:pt>
                <c:pt idx="293">
                  <c:v>43880</c:v>
                </c:pt>
                <c:pt idx="294">
                  <c:v>43881</c:v>
                </c:pt>
                <c:pt idx="295">
                  <c:v>43882</c:v>
                </c:pt>
                <c:pt idx="296">
                  <c:v>43885</c:v>
                </c:pt>
                <c:pt idx="297">
                  <c:v>43886</c:v>
                </c:pt>
                <c:pt idx="298">
                  <c:v>43887</c:v>
                </c:pt>
                <c:pt idx="299">
                  <c:v>43888</c:v>
                </c:pt>
                <c:pt idx="300">
                  <c:v>43889</c:v>
                </c:pt>
                <c:pt idx="301">
                  <c:v>43892</c:v>
                </c:pt>
                <c:pt idx="302">
                  <c:v>43893</c:v>
                </c:pt>
                <c:pt idx="303">
                  <c:v>43894</c:v>
                </c:pt>
                <c:pt idx="304">
                  <c:v>43895</c:v>
                </c:pt>
                <c:pt idx="305">
                  <c:v>43896</c:v>
                </c:pt>
                <c:pt idx="306">
                  <c:v>43900</c:v>
                </c:pt>
                <c:pt idx="307">
                  <c:v>43901</c:v>
                </c:pt>
                <c:pt idx="308">
                  <c:v>43902</c:v>
                </c:pt>
                <c:pt idx="309">
                  <c:v>43903</c:v>
                </c:pt>
                <c:pt idx="310">
                  <c:v>43906</c:v>
                </c:pt>
                <c:pt idx="311">
                  <c:v>43907</c:v>
                </c:pt>
                <c:pt idx="312">
                  <c:v>43908</c:v>
                </c:pt>
                <c:pt idx="313">
                  <c:v>43909</c:v>
                </c:pt>
                <c:pt idx="314">
                  <c:v>43910</c:v>
                </c:pt>
                <c:pt idx="315">
                  <c:v>43916</c:v>
                </c:pt>
                <c:pt idx="316">
                  <c:v>43917</c:v>
                </c:pt>
                <c:pt idx="317">
                  <c:v>43920</c:v>
                </c:pt>
                <c:pt idx="318">
                  <c:v>43921</c:v>
                </c:pt>
                <c:pt idx="319">
                  <c:v>43922</c:v>
                </c:pt>
                <c:pt idx="320">
                  <c:v>43923</c:v>
                </c:pt>
                <c:pt idx="321">
                  <c:v>43924</c:v>
                </c:pt>
                <c:pt idx="322">
                  <c:v>43927</c:v>
                </c:pt>
                <c:pt idx="323">
                  <c:v>43928</c:v>
                </c:pt>
                <c:pt idx="324">
                  <c:v>43929</c:v>
                </c:pt>
                <c:pt idx="325">
                  <c:v>43930</c:v>
                </c:pt>
                <c:pt idx="326">
                  <c:v>43931</c:v>
                </c:pt>
                <c:pt idx="327">
                  <c:v>43934</c:v>
                </c:pt>
                <c:pt idx="328">
                  <c:v>43935</c:v>
                </c:pt>
                <c:pt idx="329">
                  <c:v>43936</c:v>
                </c:pt>
                <c:pt idx="330">
                  <c:v>43937</c:v>
                </c:pt>
                <c:pt idx="331">
                  <c:v>43938</c:v>
                </c:pt>
                <c:pt idx="332">
                  <c:v>43941</c:v>
                </c:pt>
                <c:pt idx="333">
                  <c:v>43942</c:v>
                </c:pt>
                <c:pt idx="334">
                  <c:v>43943</c:v>
                </c:pt>
                <c:pt idx="335">
                  <c:v>43944</c:v>
                </c:pt>
                <c:pt idx="336">
                  <c:v>43945</c:v>
                </c:pt>
                <c:pt idx="337">
                  <c:v>43948</c:v>
                </c:pt>
                <c:pt idx="338">
                  <c:v>43949</c:v>
                </c:pt>
                <c:pt idx="339">
                  <c:v>43950</c:v>
                </c:pt>
                <c:pt idx="340">
                  <c:v>43951</c:v>
                </c:pt>
                <c:pt idx="341">
                  <c:v>43955</c:v>
                </c:pt>
                <c:pt idx="342">
                  <c:v>43956</c:v>
                </c:pt>
                <c:pt idx="343">
                  <c:v>43957</c:v>
                </c:pt>
                <c:pt idx="344">
                  <c:v>43962</c:v>
                </c:pt>
                <c:pt idx="345">
                  <c:v>43963</c:v>
                </c:pt>
                <c:pt idx="346">
                  <c:v>43964</c:v>
                </c:pt>
                <c:pt idx="347">
                  <c:v>43965</c:v>
                </c:pt>
                <c:pt idx="348">
                  <c:v>43966</c:v>
                </c:pt>
                <c:pt idx="349">
                  <c:v>43969</c:v>
                </c:pt>
                <c:pt idx="350">
                  <c:v>43970</c:v>
                </c:pt>
                <c:pt idx="351">
                  <c:v>43971</c:v>
                </c:pt>
                <c:pt idx="352">
                  <c:v>43972</c:v>
                </c:pt>
                <c:pt idx="353">
                  <c:v>43973</c:v>
                </c:pt>
                <c:pt idx="354">
                  <c:v>43976</c:v>
                </c:pt>
                <c:pt idx="355">
                  <c:v>43977</c:v>
                </c:pt>
                <c:pt idx="356">
                  <c:v>43978</c:v>
                </c:pt>
                <c:pt idx="357">
                  <c:v>43979</c:v>
                </c:pt>
                <c:pt idx="358">
                  <c:v>43980</c:v>
                </c:pt>
                <c:pt idx="359">
                  <c:v>43983</c:v>
                </c:pt>
                <c:pt idx="360">
                  <c:v>43984</c:v>
                </c:pt>
                <c:pt idx="361">
                  <c:v>43985</c:v>
                </c:pt>
                <c:pt idx="362">
                  <c:v>43986</c:v>
                </c:pt>
                <c:pt idx="363">
                  <c:v>43987</c:v>
                </c:pt>
                <c:pt idx="364">
                  <c:v>43990</c:v>
                </c:pt>
                <c:pt idx="365">
                  <c:v>43991</c:v>
                </c:pt>
                <c:pt idx="366">
                  <c:v>43992</c:v>
                </c:pt>
                <c:pt idx="367">
                  <c:v>43993</c:v>
                </c:pt>
                <c:pt idx="368">
                  <c:v>43994</c:v>
                </c:pt>
                <c:pt idx="369">
                  <c:v>43997</c:v>
                </c:pt>
                <c:pt idx="370">
                  <c:v>43998</c:v>
                </c:pt>
                <c:pt idx="371">
                  <c:v>43999</c:v>
                </c:pt>
                <c:pt idx="372">
                  <c:v>44000</c:v>
                </c:pt>
                <c:pt idx="373">
                  <c:v>44001</c:v>
                </c:pt>
                <c:pt idx="374">
                  <c:v>44004</c:v>
                </c:pt>
                <c:pt idx="375">
                  <c:v>44005</c:v>
                </c:pt>
                <c:pt idx="376">
                  <c:v>44006</c:v>
                </c:pt>
                <c:pt idx="377">
                  <c:v>44007</c:v>
                </c:pt>
                <c:pt idx="378">
                  <c:v>44008</c:v>
                </c:pt>
                <c:pt idx="379">
                  <c:v>44011</c:v>
                </c:pt>
                <c:pt idx="380">
                  <c:v>44012</c:v>
                </c:pt>
                <c:pt idx="381">
                  <c:v>44013</c:v>
                </c:pt>
                <c:pt idx="382">
                  <c:v>44014</c:v>
                </c:pt>
                <c:pt idx="383">
                  <c:v>44015</c:v>
                </c:pt>
                <c:pt idx="384">
                  <c:v>44019</c:v>
                </c:pt>
                <c:pt idx="385">
                  <c:v>44020</c:v>
                </c:pt>
                <c:pt idx="386">
                  <c:v>44021</c:v>
                </c:pt>
                <c:pt idx="387">
                  <c:v>44022</c:v>
                </c:pt>
                <c:pt idx="388">
                  <c:v>44025</c:v>
                </c:pt>
                <c:pt idx="389">
                  <c:v>44026</c:v>
                </c:pt>
                <c:pt idx="390">
                  <c:v>44027</c:v>
                </c:pt>
                <c:pt idx="391">
                  <c:v>44028</c:v>
                </c:pt>
                <c:pt idx="392">
                  <c:v>44029</c:v>
                </c:pt>
                <c:pt idx="393">
                  <c:v>44032</c:v>
                </c:pt>
                <c:pt idx="394">
                  <c:v>44033</c:v>
                </c:pt>
                <c:pt idx="395">
                  <c:v>44034</c:v>
                </c:pt>
                <c:pt idx="396">
                  <c:v>44035</c:v>
                </c:pt>
                <c:pt idx="397">
                  <c:v>44036</c:v>
                </c:pt>
                <c:pt idx="398">
                  <c:v>44039</c:v>
                </c:pt>
                <c:pt idx="399">
                  <c:v>44040</c:v>
                </c:pt>
                <c:pt idx="400">
                  <c:v>44041</c:v>
                </c:pt>
                <c:pt idx="401">
                  <c:v>44042</c:v>
                </c:pt>
                <c:pt idx="402">
                  <c:v>44046</c:v>
                </c:pt>
                <c:pt idx="403">
                  <c:v>44047</c:v>
                </c:pt>
                <c:pt idx="404">
                  <c:v>44048</c:v>
                </c:pt>
                <c:pt idx="405">
                  <c:v>44049</c:v>
                </c:pt>
                <c:pt idx="406">
                  <c:v>44050</c:v>
                </c:pt>
                <c:pt idx="407">
                  <c:v>44053</c:v>
                </c:pt>
                <c:pt idx="408">
                  <c:v>44054</c:v>
                </c:pt>
                <c:pt idx="409">
                  <c:v>44055</c:v>
                </c:pt>
                <c:pt idx="410">
                  <c:v>44056</c:v>
                </c:pt>
                <c:pt idx="411">
                  <c:v>44057</c:v>
                </c:pt>
                <c:pt idx="412">
                  <c:v>44060</c:v>
                </c:pt>
                <c:pt idx="413">
                  <c:v>44061</c:v>
                </c:pt>
                <c:pt idx="414">
                  <c:v>44062</c:v>
                </c:pt>
                <c:pt idx="415">
                  <c:v>44063</c:v>
                </c:pt>
                <c:pt idx="416">
                  <c:v>44064</c:v>
                </c:pt>
                <c:pt idx="417">
                  <c:v>44067</c:v>
                </c:pt>
                <c:pt idx="418">
                  <c:v>44068</c:v>
                </c:pt>
                <c:pt idx="419">
                  <c:v>44069</c:v>
                </c:pt>
                <c:pt idx="420">
                  <c:v>44070</c:v>
                </c:pt>
                <c:pt idx="421">
                  <c:v>44071</c:v>
                </c:pt>
                <c:pt idx="422">
                  <c:v>44075</c:v>
                </c:pt>
                <c:pt idx="423">
                  <c:v>44076</c:v>
                </c:pt>
                <c:pt idx="424">
                  <c:v>44077</c:v>
                </c:pt>
                <c:pt idx="425">
                  <c:v>44078</c:v>
                </c:pt>
                <c:pt idx="426">
                  <c:v>44081</c:v>
                </c:pt>
                <c:pt idx="427">
                  <c:v>44082</c:v>
                </c:pt>
                <c:pt idx="428">
                  <c:v>44083</c:v>
                </c:pt>
                <c:pt idx="429">
                  <c:v>44084</c:v>
                </c:pt>
                <c:pt idx="430">
                  <c:v>44088</c:v>
                </c:pt>
                <c:pt idx="431">
                  <c:v>44089</c:v>
                </c:pt>
                <c:pt idx="432">
                  <c:v>44095</c:v>
                </c:pt>
                <c:pt idx="433">
                  <c:v>44096</c:v>
                </c:pt>
                <c:pt idx="434">
                  <c:v>44097</c:v>
                </c:pt>
                <c:pt idx="435">
                  <c:v>44098</c:v>
                </c:pt>
                <c:pt idx="436">
                  <c:v>44099</c:v>
                </c:pt>
                <c:pt idx="437">
                  <c:v>44102</c:v>
                </c:pt>
                <c:pt idx="438">
                  <c:v>44103</c:v>
                </c:pt>
                <c:pt idx="439">
                  <c:v>44104</c:v>
                </c:pt>
                <c:pt idx="440">
                  <c:v>44105</c:v>
                </c:pt>
                <c:pt idx="441">
                  <c:v>44109</c:v>
                </c:pt>
                <c:pt idx="442">
                  <c:v>44110</c:v>
                </c:pt>
                <c:pt idx="443">
                  <c:v>44111</c:v>
                </c:pt>
                <c:pt idx="444">
                  <c:v>44112</c:v>
                </c:pt>
                <c:pt idx="445">
                  <c:v>44113</c:v>
                </c:pt>
                <c:pt idx="446">
                  <c:v>44116</c:v>
                </c:pt>
                <c:pt idx="447">
                  <c:v>44117</c:v>
                </c:pt>
                <c:pt idx="448">
                  <c:v>44118</c:v>
                </c:pt>
                <c:pt idx="449">
                  <c:v>44119</c:v>
                </c:pt>
                <c:pt idx="450">
                  <c:v>44120</c:v>
                </c:pt>
                <c:pt idx="451">
                  <c:v>44123</c:v>
                </c:pt>
                <c:pt idx="452">
                  <c:v>44124</c:v>
                </c:pt>
                <c:pt idx="453">
                  <c:v>44125</c:v>
                </c:pt>
                <c:pt idx="454">
                  <c:v>44126</c:v>
                </c:pt>
                <c:pt idx="455">
                  <c:v>44127</c:v>
                </c:pt>
                <c:pt idx="456">
                  <c:v>44130</c:v>
                </c:pt>
                <c:pt idx="457">
                  <c:v>44131</c:v>
                </c:pt>
                <c:pt idx="458">
                  <c:v>44132</c:v>
                </c:pt>
                <c:pt idx="459">
                  <c:v>44133</c:v>
                </c:pt>
                <c:pt idx="460">
                  <c:v>44134</c:v>
                </c:pt>
                <c:pt idx="461">
                  <c:v>44137</c:v>
                </c:pt>
                <c:pt idx="462">
                  <c:v>44138</c:v>
                </c:pt>
                <c:pt idx="463">
                  <c:v>44139</c:v>
                </c:pt>
                <c:pt idx="464">
                  <c:v>44140</c:v>
                </c:pt>
                <c:pt idx="465">
                  <c:v>44141</c:v>
                </c:pt>
                <c:pt idx="466">
                  <c:v>44144</c:v>
                </c:pt>
                <c:pt idx="467">
                  <c:v>44145</c:v>
                </c:pt>
                <c:pt idx="468">
                  <c:v>44146</c:v>
                </c:pt>
                <c:pt idx="469">
                  <c:v>44147</c:v>
                </c:pt>
                <c:pt idx="470">
                  <c:v>44148</c:v>
                </c:pt>
                <c:pt idx="471">
                  <c:v>44151</c:v>
                </c:pt>
                <c:pt idx="472">
                  <c:v>44152</c:v>
                </c:pt>
                <c:pt idx="473">
                  <c:v>44153</c:v>
                </c:pt>
                <c:pt idx="474">
                  <c:v>44154</c:v>
                </c:pt>
                <c:pt idx="475">
                  <c:v>44155</c:v>
                </c:pt>
                <c:pt idx="476">
                  <c:v>44158</c:v>
                </c:pt>
                <c:pt idx="477">
                  <c:v>44159</c:v>
                </c:pt>
                <c:pt idx="478">
                  <c:v>44160</c:v>
                </c:pt>
                <c:pt idx="479">
                  <c:v>44161</c:v>
                </c:pt>
                <c:pt idx="480">
                  <c:v>44162</c:v>
                </c:pt>
                <c:pt idx="481">
                  <c:v>44165</c:v>
                </c:pt>
                <c:pt idx="482">
                  <c:v>44167</c:v>
                </c:pt>
                <c:pt idx="483">
                  <c:v>44168</c:v>
                </c:pt>
                <c:pt idx="484">
                  <c:v>44169</c:v>
                </c:pt>
                <c:pt idx="485">
                  <c:v>44172</c:v>
                </c:pt>
                <c:pt idx="486">
                  <c:v>44173</c:v>
                </c:pt>
                <c:pt idx="487">
                  <c:v>44174</c:v>
                </c:pt>
                <c:pt idx="488">
                  <c:v>44175</c:v>
                </c:pt>
                <c:pt idx="489">
                  <c:v>44176</c:v>
                </c:pt>
                <c:pt idx="490">
                  <c:v>44179</c:v>
                </c:pt>
                <c:pt idx="491">
                  <c:v>44180</c:v>
                </c:pt>
                <c:pt idx="492">
                  <c:v>44186</c:v>
                </c:pt>
                <c:pt idx="493">
                  <c:v>44187</c:v>
                </c:pt>
                <c:pt idx="494">
                  <c:v>44188</c:v>
                </c:pt>
                <c:pt idx="495">
                  <c:v>44189</c:v>
                </c:pt>
                <c:pt idx="496">
                  <c:v>44190</c:v>
                </c:pt>
                <c:pt idx="497">
                  <c:v>44193</c:v>
                </c:pt>
                <c:pt idx="498">
                  <c:v>44194</c:v>
                </c:pt>
                <c:pt idx="499">
                  <c:v>44195</c:v>
                </c:pt>
                <c:pt idx="500">
                  <c:v>44196</c:v>
                </c:pt>
                <c:pt idx="501">
                  <c:v>44201</c:v>
                </c:pt>
                <c:pt idx="502">
                  <c:v>44202</c:v>
                </c:pt>
                <c:pt idx="503">
                  <c:v>44204</c:v>
                </c:pt>
                <c:pt idx="504">
                  <c:v>44207</c:v>
                </c:pt>
                <c:pt idx="505">
                  <c:v>44208</c:v>
                </c:pt>
                <c:pt idx="506">
                  <c:v>44209</c:v>
                </c:pt>
                <c:pt idx="507">
                  <c:v>44210</c:v>
                </c:pt>
                <c:pt idx="508">
                  <c:v>44211</c:v>
                </c:pt>
                <c:pt idx="509">
                  <c:v>44214</c:v>
                </c:pt>
                <c:pt idx="510">
                  <c:v>44215</c:v>
                </c:pt>
                <c:pt idx="511">
                  <c:v>44216</c:v>
                </c:pt>
                <c:pt idx="512">
                  <c:v>44217</c:v>
                </c:pt>
                <c:pt idx="513">
                  <c:v>44218</c:v>
                </c:pt>
                <c:pt idx="514">
                  <c:v>44221</c:v>
                </c:pt>
                <c:pt idx="515">
                  <c:v>44222</c:v>
                </c:pt>
                <c:pt idx="516">
                  <c:v>44223</c:v>
                </c:pt>
                <c:pt idx="517">
                  <c:v>44224</c:v>
                </c:pt>
                <c:pt idx="518">
                  <c:v>44225</c:v>
                </c:pt>
                <c:pt idx="519">
                  <c:v>44228</c:v>
                </c:pt>
                <c:pt idx="520">
                  <c:v>44229</c:v>
                </c:pt>
                <c:pt idx="521">
                  <c:v>44230</c:v>
                </c:pt>
                <c:pt idx="522">
                  <c:v>44231</c:v>
                </c:pt>
                <c:pt idx="523">
                  <c:v>44232</c:v>
                </c:pt>
                <c:pt idx="524">
                  <c:v>44235</c:v>
                </c:pt>
                <c:pt idx="525">
                  <c:v>44236</c:v>
                </c:pt>
                <c:pt idx="526">
                  <c:v>44237</c:v>
                </c:pt>
                <c:pt idx="527">
                  <c:v>44238</c:v>
                </c:pt>
                <c:pt idx="528">
                  <c:v>44239</c:v>
                </c:pt>
                <c:pt idx="529">
                  <c:v>44242</c:v>
                </c:pt>
                <c:pt idx="530">
                  <c:v>44243</c:v>
                </c:pt>
                <c:pt idx="531">
                  <c:v>44244</c:v>
                </c:pt>
                <c:pt idx="532">
                  <c:v>44245</c:v>
                </c:pt>
                <c:pt idx="533">
                  <c:v>44249</c:v>
                </c:pt>
                <c:pt idx="534">
                  <c:v>44250</c:v>
                </c:pt>
                <c:pt idx="535">
                  <c:v>44251</c:v>
                </c:pt>
                <c:pt idx="536">
                  <c:v>44252</c:v>
                </c:pt>
                <c:pt idx="537">
                  <c:v>44253</c:v>
                </c:pt>
                <c:pt idx="538">
                  <c:v>44256</c:v>
                </c:pt>
                <c:pt idx="539">
                  <c:v>44257</c:v>
                </c:pt>
                <c:pt idx="540">
                  <c:v>44258</c:v>
                </c:pt>
                <c:pt idx="541">
                  <c:v>44259</c:v>
                </c:pt>
                <c:pt idx="542">
                  <c:v>44260</c:v>
                </c:pt>
                <c:pt idx="543">
                  <c:v>44264</c:v>
                </c:pt>
                <c:pt idx="544">
                  <c:v>44265</c:v>
                </c:pt>
                <c:pt idx="545">
                  <c:v>44266</c:v>
                </c:pt>
                <c:pt idx="546">
                  <c:v>44267</c:v>
                </c:pt>
                <c:pt idx="547">
                  <c:v>44270</c:v>
                </c:pt>
                <c:pt idx="548">
                  <c:v>44271</c:v>
                </c:pt>
                <c:pt idx="549">
                  <c:v>44272</c:v>
                </c:pt>
                <c:pt idx="550">
                  <c:v>44273</c:v>
                </c:pt>
                <c:pt idx="551">
                  <c:v>44274</c:v>
                </c:pt>
                <c:pt idx="552">
                  <c:v>44280</c:v>
                </c:pt>
                <c:pt idx="553">
                  <c:v>44281</c:v>
                </c:pt>
                <c:pt idx="554">
                  <c:v>44284</c:v>
                </c:pt>
                <c:pt idx="555">
                  <c:v>44285</c:v>
                </c:pt>
                <c:pt idx="556">
                  <c:v>44286</c:v>
                </c:pt>
                <c:pt idx="557">
                  <c:v>44287</c:v>
                </c:pt>
                <c:pt idx="558">
                  <c:v>44288</c:v>
                </c:pt>
                <c:pt idx="559">
                  <c:v>44291</c:v>
                </c:pt>
                <c:pt idx="560">
                  <c:v>44292</c:v>
                </c:pt>
                <c:pt idx="561">
                  <c:v>44293</c:v>
                </c:pt>
                <c:pt idx="562">
                  <c:v>44294</c:v>
                </c:pt>
                <c:pt idx="563">
                  <c:v>44295</c:v>
                </c:pt>
                <c:pt idx="564">
                  <c:v>44298</c:v>
                </c:pt>
                <c:pt idx="565">
                  <c:v>44299</c:v>
                </c:pt>
                <c:pt idx="566">
                  <c:v>44300</c:v>
                </c:pt>
                <c:pt idx="567">
                  <c:v>44301</c:v>
                </c:pt>
                <c:pt idx="568">
                  <c:v>44302</c:v>
                </c:pt>
                <c:pt idx="569">
                  <c:v>44305</c:v>
                </c:pt>
                <c:pt idx="570">
                  <c:v>44306</c:v>
                </c:pt>
                <c:pt idx="571">
                  <c:v>44307</c:v>
                </c:pt>
                <c:pt idx="572">
                  <c:v>44308</c:v>
                </c:pt>
                <c:pt idx="573">
                  <c:v>44309</c:v>
                </c:pt>
                <c:pt idx="574">
                  <c:v>44312</c:v>
                </c:pt>
                <c:pt idx="575">
                  <c:v>44313</c:v>
                </c:pt>
                <c:pt idx="576">
                  <c:v>44314</c:v>
                </c:pt>
                <c:pt idx="577">
                  <c:v>44315</c:v>
                </c:pt>
                <c:pt idx="578">
                  <c:v>44316</c:v>
                </c:pt>
                <c:pt idx="579">
                  <c:v>44320</c:v>
                </c:pt>
                <c:pt idx="580">
                  <c:v>44321</c:v>
                </c:pt>
                <c:pt idx="581">
                  <c:v>44322</c:v>
                </c:pt>
                <c:pt idx="582">
                  <c:v>44327</c:v>
                </c:pt>
                <c:pt idx="583">
                  <c:v>44328</c:v>
                </c:pt>
                <c:pt idx="584">
                  <c:v>44329</c:v>
                </c:pt>
                <c:pt idx="585">
                  <c:v>44333</c:v>
                </c:pt>
                <c:pt idx="586">
                  <c:v>44334</c:v>
                </c:pt>
                <c:pt idx="587">
                  <c:v>44335</c:v>
                </c:pt>
                <c:pt idx="588">
                  <c:v>44336</c:v>
                </c:pt>
                <c:pt idx="589">
                  <c:v>44337</c:v>
                </c:pt>
                <c:pt idx="590">
                  <c:v>44340</c:v>
                </c:pt>
                <c:pt idx="591">
                  <c:v>44341</c:v>
                </c:pt>
                <c:pt idx="592">
                  <c:v>44342</c:v>
                </c:pt>
                <c:pt idx="593">
                  <c:v>44343</c:v>
                </c:pt>
                <c:pt idx="594">
                  <c:v>44344</c:v>
                </c:pt>
                <c:pt idx="595">
                  <c:v>44347</c:v>
                </c:pt>
                <c:pt idx="596">
                  <c:v>44348</c:v>
                </c:pt>
                <c:pt idx="597">
                  <c:v>44349</c:v>
                </c:pt>
                <c:pt idx="598">
                  <c:v>44350</c:v>
                </c:pt>
                <c:pt idx="599">
                  <c:v>44351</c:v>
                </c:pt>
                <c:pt idx="600">
                  <c:v>44355</c:v>
                </c:pt>
                <c:pt idx="601">
                  <c:v>44356</c:v>
                </c:pt>
                <c:pt idx="602">
                  <c:v>44357</c:v>
                </c:pt>
                <c:pt idx="603">
                  <c:v>44358</c:v>
                </c:pt>
                <c:pt idx="604">
                  <c:v>44361</c:v>
                </c:pt>
                <c:pt idx="605">
                  <c:v>44362</c:v>
                </c:pt>
                <c:pt idx="606">
                  <c:v>44363</c:v>
                </c:pt>
                <c:pt idx="607">
                  <c:v>44365</c:v>
                </c:pt>
                <c:pt idx="608">
                  <c:v>44368</c:v>
                </c:pt>
                <c:pt idx="609">
                  <c:v>44369</c:v>
                </c:pt>
                <c:pt idx="610">
                  <c:v>44370</c:v>
                </c:pt>
                <c:pt idx="611">
                  <c:v>44371</c:v>
                </c:pt>
                <c:pt idx="612">
                  <c:v>44372</c:v>
                </c:pt>
                <c:pt idx="613">
                  <c:v>44375</c:v>
                </c:pt>
                <c:pt idx="614">
                  <c:v>44376</c:v>
                </c:pt>
                <c:pt idx="615">
                  <c:v>44377</c:v>
                </c:pt>
                <c:pt idx="616">
                  <c:v>44378</c:v>
                </c:pt>
                <c:pt idx="617">
                  <c:v>44379</c:v>
                </c:pt>
                <c:pt idx="618">
                  <c:v>44384</c:v>
                </c:pt>
                <c:pt idx="619">
                  <c:v>44385</c:v>
                </c:pt>
                <c:pt idx="620">
                  <c:v>44386</c:v>
                </c:pt>
                <c:pt idx="621">
                  <c:v>44389</c:v>
                </c:pt>
                <c:pt idx="622">
                  <c:v>44390</c:v>
                </c:pt>
                <c:pt idx="623">
                  <c:v>44391</c:v>
                </c:pt>
                <c:pt idx="624">
                  <c:v>44392</c:v>
                </c:pt>
                <c:pt idx="625">
                  <c:v>44393</c:v>
                </c:pt>
                <c:pt idx="626">
                  <c:v>44396</c:v>
                </c:pt>
                <c:pt idx="627">
                  <c:v>44398</c:v>
                </c:pt>
                <c:pt idx="628">
                  <c:v>44399</c:v>
                </c:pt>
                <c:pt idx="629">
                  <c:v>44400</c:v>
                </c:pt>
                <c:pt idx="630">
                  <c:v>44403</c:v>
                </c:pt>
                <c:pt idx="631">
                  <c:v>44404</c:v>
                </c:pt>
                <c:pt idx="632">
                  <c:v>44405</c:v>
                </c:pt>
                <c:pt idx="633">
                  <c:v>44406</c:v>
                </c:pt>
                <c:pt idx="634">
                  <c:v>44407</c:v>
                </c:pt>
                <c:pt idx="635">
                  <c:v>44410</c:v>
                </c:pt>
                <c:pt idx="636">
                  <c:v>44411</c:v>
                </c:pt>
                <c:pt idx="637">
                  <c:v>44412</c:v>
                </c:pt>
                <c:pt idx="638">
                  <c:v>44413</c:v>
                </c:pt>
                <c:pt idx="639">
                  <c:v>44414</c:v>
                </c:pt>
                <c:pt idx="640">
                  <c:v>44417</c:v>
                </c:pt>
                <c:pt idx="641">
                  <c:v>44418</c:v>
                </c:pt>
                <c:pt idx="642">
                  <c:v>44419</c:v>
                </c:pt>
                <c:pt idx="643">
                  <c:v>44420</c:v>
                </c:pt>
                <c:pt idx="644">
                  <c:v>44421</c:v>
                </c:pt>
                <c:pt idx="645">
                  <c:v>44424</c:v>
                </c:pt>
                <c:pt idx="646">
                  <c:v>44425</c:v>
                </c:pt>
                <c:pt idx="647">
                  <c:v>44426</c:v>
                </c:pt>
                <c:pt idx="648">
                  <c:v>44427</c:v>
                </c:pt>
                <c:pt idx="649">
                  <c:v>44428</c:v>
                </c:pt>
                <c:pt idx="650">
                  <c:v>44431</c:v>
                </c:pt>
                <c:pt idx="651">
                  <c:v>44432</c:v>
                </c:pt>
                <c:pt idx="652">
                  <c:v>44433</c:v>
                </c:pt>
                <c:pt idx="653">
                  <c:v>44434</c:v>
                </c:pt>
                <c:pt idx="654">
                  <c:v>44435</c:v>
                </c:pt>
                <c:pt idx="655">
                  <c:v>44439</c:v>
                </c:pt>
                <c:pt idx="656">
                  <c:v>44440</c:v>
                </c:pt>
                <c:pt idx="657">
                  <c:v>44441</c:v>
                </c:pt>
                <c:pt idx="658">
                  <c:v>44442</c:v>
                </c:pt>
                <c:pt idx="659">
                  <c:v>44445</c:v>
                </c:pt>
                <c:pt idx="660">
                  <c:v>44446</c:v>
                </c:pt>
                <c:pt idx="661">
                  <c:v>44447</c:v>
                </c:pt>
                <c:pt idx="662">
                  <c:v>44448</c:v>
                </c:pt>
                <c:pt idx="663">
                  <c:v>44449</c:v>
                </c:pt>
                <c:pt idx="664">
                  <c:v>44452</c:v>
                </c:pt>
                <c:pt idx="665">
                  <c:v>44453</c:v>
                </c:pt>
                <c:pt idx="666">
                  <c:v>44454</c:v>
                </c:pt>
                <c:pt idx="667">
                  <c:v>44455</c:v>
                </c:pt>
                <c:pt idx="668">
                  <c:v>44456</c:v>
                </c:pt>
                <c:pt idx="669">
                  <c:v>44459</c:v>
                </c:pt>
                <c:pt idx="670">
                  <c:v>44460</c:v>
                </c:pt>
                <c:pt idx="671">
                  <c:v>44461</c:v>
                </c:pt>
                <c:pt idx="672">
                  <c:v>44462</c:v>
                </c:pt>
                <c:pt idx="673">
                  <c:v>44463</c:v>
                </c:pt>
                <c:pt idx="674">
                  <c:v>44466</c:v>
                </c:pt>
                <c:pt idx="675">
                  <c:v>44467</c:v>
                </c:pt>
                <c:pt idx="676">
                  <c:v>44468</c:v>
                </c:pt>
                <c:pt idx="677">
                  <c:v>44469</c:v>
                </c:pt>
                <c:pt idx="678">
                  <c:v>44470</c:v>
                </c:pt>
                <c:pt idx="679">
                  <c:v>44473</c:v>
                </c:pt>
                <c:pt idx="680">
                  <c:v>44474</c:v>
                </c:pt>
                <c:pt idx="681">
                  <c:v>44475</c:v>
                </c:pt>
                <c:pt idx="682">
                  <c:v>44476</c:v>
                </c:pt>
                <c:pt idx="683">
                  <c:v>44477</c:v>
                </c:pt>
                <c:pt idx="684">
                  <c:v>44480</c:v>
                </c:pt>
                <c:pt idx="685">
                  <c:v>44481</c:v>
                </c:pt>
                <c:pt idx="686">
                  <c:v>44482</c:v>
                </c:pt>
                <c:pt idx="687">
                  <c:v>44483</c:v>
                </c:pt>
                <c:pt idx="688">
                  <c:v>44484</c:v>
                </c:pt>
                <c:pt idx="689">
                  <c:v>44487</c:v>
                </c:pt>
                <c:pt idx="690">
                  <c:v>44488</c:v>
                </c:pt>
                <c:pt idx="691">
                  <c:v>44489</c:v>
                </c:pt>
                <c:pt idx="692">
                  <c:v>44490</c:v>
                </c:pt>
                <c:pt idx="693">
                  <c:v>44491</c:v>
                </c:pt>
                <c:pt idx="694">
                  <c:v>44494</c:v>
                </c:pt>
                <c:pt idx="695">
                  <c:v>44495</c:v>
                </c:pt>
                <c:pt idx="696">
                  <c:v>44496</c:v>
                </c:pt>
                <c:pt idx="697">
                  <c:v>44497</c:v>
                </c:pt>
                <c:pt idx="698">
                  <c:v>44498</c:v>
                </c:pt>
                <c:pt idx="699">
                  <c:v>44501</c:v>
                </c:pt>
                <c:pt idx="700">
                  <c:v>44502</c:v>
                </c:pt>
                <c:pt idx="701">
                  <c:v>44503</c:v>
                </c:pt>
                <c:pt idx="702">
                  <c:v>44504</c:v>
                </c:pt>
                <c:pt idx="703">
                  <c:v>44505</c:v>
                </c:pt>
                <c:pt idx="704">
                  <c:v>44508</c:v>
                </c:pt>
                <c:pt idx="705">
                  <c:v>44509</c:v>
                </c:pt>
                <c:pt idx="706">
                  <c:v>44510</c:v>
                </c:pt>
                <c:pt idx="707">
                  <c:v>44511</c:v>
                </c:pt>
                <c:pt idx="708">
                  <c:v>44512</c:v>
                </c:pt>
                <c:pt idx="709">
                  <c:v>44516</c:v>
                </c:pt>
                <c:pt idx="710">
                  <c:v>44518</c:v>
                </c:pt>
                <c:pt idx="711">
                  <c:v>44519</c:v>
                </c:pt>
                <c:pt idx="712">
                  <c:v>44522</c:v>
                </c:pt>
                <c:pt idx="713">
                  <c:v>44523</c:v>
                </c:pt>
                <c:pt idx="714">
                  <c:v>44524</c:v>
                </c:pt>
                <c:pt idx="715">
                  <c:v>44525</c:v>
                </c:pt>
                <c:pt idx="716">
                  <c:v>44526</c:v>
                </c:pt>
                <c:pt idx="717">
                  <c:v>44529</c:v>
                </c:pt>
                <c:pt idx="718">
                  <c:v>44530</c:v>
                </c:pt>
                <c:pt idx="719">
                  <c:v>44532</c:v>
                </c:pt>
                <c:pt idx="720">
                  <c:v>44533</c:v>
                </c:pt>
                <c:pt idx="721">
                  <c:v>44536</c:v>
                </c:pt>
                <c:pt idx="722">
                  <c:v>44537</c:v>
                </c:pt>
                <c:pt idx="723">
                  <c:v>44538</c:v>
                </c:pt>
                <c:pt idx="724">
                  <c:v>44539</c:v>
                </c:pt>
                <c:pt idx="725">
                  <c:v>44540</c:v>
                </c:pt>
                <c:pt idx="726">
                  <c:v>44543</c:v>
                </c:pt>
                <c:pt idx="727">
                  <c:v>44544</c:v>
                </c:pt>
                <c:pt idx="728">
                  <c:v>44545</c:v>
                </c:pt>
                <c:pt idx="729">
                  <c:v>44550</c:v>
                </c:pt>
                <c:pt idx="730">
                  <c:v>44551</c:v>
                </c:pt>
                <c:pt idx="731">
                  <c:v>44552</c:v>
                </c:pt>
                <c:pt idx="732">
                  <c:v>44553</c:v>
                </c:pt>
                <c:pt idx="733">
                  <c:v>44554</c:v>
                </c:pt>
                <c:pt idx="734">
                  <c:v>44557</c:v>
                </c:pt>
                <c:pt idx="735">
                  <c:v>44558</c:v>
                </c:pt>
                <c:pt idx="736">
                  <c:v>44559</c:v>
                </c:pt>
                <c:pt idx="737">
                  <c:v>44560</c:v>
                </c:pt>
                <c:pt idx="738">
                  <c:v>44561</c:v>
                </c:pt>
                <c:pt idx="739">
                  <c:v>44566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8</c:v>
                </c:pt>
                <c:pt idx="746">
                  <c:v>44579</c:v>
                </c:pt>
                <c:pt idx="747">
                  <c:v>44580</c:v>
                </c:pt>
                <c:pt idx="748">
                  <c:v>44581</c:v>
                </c:pt>
                <c:pt idx="749">
                  <c:v>44582</c:v>
                </c:pt>
                <c:pt idx="750">
                  <c:v>44585</c:v>
                </c:pt>
                <c:pt idx="751">
                  <c:v>44586</c:v>
                </c:pt>
                <c:pt idx="752">
                  <c:v>44587</c:v>
                </c:pt>
                <c:pt idx="753">
                  <c:v>44588</c:v>
                </c:pt>
                <c:pt idx="754">
                  <c:v>44589</c:v>
                </c:pt>
                <c:pt idx="755">
                  <c:v>44592</c:v>
                </c:pt>
                <c:pt idx="756">
                  <c:v>44593</c:v>
                </c:pt>
                <c:pt idx="757">
                  <c:v>44594</c:v>
                </c:pt>
                <c:pt idx="758">
                  <c:v>44595</c:v>
                </c:pt>
                <c:pt idx="759">
                  <c:v>44596</c:v>
                </c:pt>
                <c:pt idx="760">
                  <c:v>44599</c:v>
                </c:pt>
                <c:pt idx="761">
                  <c:v>44600</c:v>
                </c:pt>
                <c:pt idx="762">
                  <c:v>44601</c:v>
                </c:pt>
                <c:pt idx="763">
                  <c:v>44602</c:v>
                </c:pt>
                <c:pt idx="764">
                  <c:v>44603</c:v>
                </c:pt>
                <c:pt idx="765">
                  <c:v>44606</c:v>
                </c:pt>
                <c:pt idx="766">
                  <c:v>44607</c:v>
                </c:pt>
                <c:pt idx="767">
                  <c:v>44608</c:v>
                </c:pt>
                <c:pt idx="768">
                  <c:v>44609</c:v>
                </c:pt>
                <c:pt idx="769">
                  <c:v>44610</c:v>
                </c:pt>
                <c:pt idx="770">
                  <c:v>44613</c:v>
                </c:pt>
                <c:pt idx="771">
                  <c:v>44614</c:v>
                </c:pt>
                <c:pt idx="772">
                  <c:v>44615</c:v>
                </c:pt>
                <c:pt idx="773">
                  <c:v>44616</c:v>
                </c:pt>
                <c:pt idx="774">
                  <c:v>44617</c:v>
                </c:pt>
                <c:pt idx="775">
                  <c:v>44620</c:v>
                </c:pt>
                <c:pt idx="776">
                  <c:v>44621</c:v>
                </c:pt>
                <c:pt idx="777">
                  <c:v>44622</c:v>
                </c:pt>
                <c:pt idx="778">
                  <c:v>44623</c:v>
                </c:pt>
                <c:pt idx="779">
                  <c:v>44624</c:v>
                </c:pt>
                <c:pt idx="780">
                  <c:v>44629</c:v>
                </c:pt>
                <c:pt idx="781">
                  <c:v>44630</c:v>
                </c:pt>
                <c:pt idx="782">
                  <c:v>44631</c:v>
                </c:pt>
                <c:pt idx="783">
                  <c:v>44634</c:v>
                </c:pt>
                <c:pt idx="784">
                  <c:v>44635</c:v>
                </c:pt>
                <c:pt idx="785">
                  <c:v>44636</c:v>
                </c:pt>
                <c:pt idx="786">
                  <c:v>44637</c:v>
                </c:pt>
                <c:pt idx="787">
                  <c:v>44638</c:v>
                </c:pt>
                <c:pt idx="788">
                  <c:v>44644</c:v>
                </c:pt>
                <c:pt idx="789">
                  <c:v>44645</c:v>
                </c:pt>
                <c:pt idx="790">
                  <c:v>44648</c:v>
                </c:pt>
                <c:pt idx="791">
                  <c:v>44649</c:v>
                </c:pt>
                <c:pt idx="792">
                  <c:v>44650</c:v>
                </c:pt>
                <c:pt idx="793">
                  <c:v>44651</c:v>
                </c:pt>
                <c:pt idx="794">
                  <c:v>44652</c:v>
                </c:pt>
                <c:pt idx="795">
                  <c:v>44655</c:v>
                </c:pt>
                <c:pt idx="796">
                  <c:v>44656</c:v>
                </c:pt>
                <c:pt idx="797">
                  <c:v>44657</c:v>
                </c:pt>
                <c:pt idx="798">
                  <c:v>44658</c:v>
                </c:pt>
                <c:pt idx="799">
                  <c:v>44659</c:v>
                </c:pt>
                <c:pt idx="800">
                  <c:v>44662</c:v>
                </c:pt>
                <c:pt idx="801">
                  <c:v>44663</c:v>
                </c:pt>
                <c:pt idx="802">
                  <c:v>44664</c:v>
                </c:pt>
                <c:pt idx="803">
                  <c:v>44665</c:v>
                </c:pt>
                <c:pt idx="804">
                  <c:v>44666</c:v>
                </c:pt>
                <c:pt idx="805">
                  <c:v>44669</c:v>
                </c:pt>
                <c:pt idx="806">
                  <c:v>44670</c:v>
                </c:pt>
                <c:pt idx="807">
                  <c:v>44671</c:v>
                </c:pt>
                <c:pt idx="808">
                  <c:v>44672</c:v>
                </c:pt>
                <c:pt idx="809">
                  <c:v>44673</c:v>
                </c:pt>
                <c:pt idx="810">
                  <c:v>44676</c:v>
                </c:pt>
                <c:pt idx="811">
                  <c:v>44677</c:v>
                </c:pt>
                <c:pt idx="812">
                  <c:v>44678</c:v>
                </c:pt>
                <c:pt idx="813">
                  <c:v>44679</c:v>
                </c:pt>
                <c:pt idx="814">
                  <c:v>44680</c:v>
                </c:pt>
                <c:pt idx="815">
                  <c:v>44684</c:v>
                </c:pt>
                <c:pt idx="816">
                  <c:v>44685</c:v>
                </c:pt>
                <c:pt idx="817">
                  <c:v>44686</c:v>
                </c:pt>
                <c:pt idx="818">
                  <c:v>44687</c:v>
                </c:pt>
                <c:pt idx="819">
                  <c:v>44692</c:v>
                </c:pt>
                <c:pt idx="820">
                  <c:v>44693</c:v>
                </c:pt>
                <c:pt idx="821">
                  <c:v>44694</c:v>
                </c:pt>
                <c:pt idx="822">
                  <c:v>44697</c:v>
                </c:pt>
                <c:pt idx="823">
                  <c:v>44698</c:v>
                </c:pt>
                <c:pt idx="824">
                  <c:v>44699</c:v>
                </c:pt>
                <c:pt idx="825">
                  <c:v>44700</c:v>
                </c:pt>
                <c:pt idx="826">
                  <c:v>44701</c:v>
                </c:pt>
                <c:pt idx="827">
                  <c:v>44704</c:v>
                </c:pt>
                <c:pt idx="828">
                  <c:v>44705</c:v>
                </c:pt>
                <c:pt idx="829">
                  <c:v>44706</c:v>
                </c:pt>
                <c:pt idx="830">
                  <c:v>44707</c:v>
                </c:pt>
                <c:pt idx="831">
                  <c:v>44708</c:v>
                </c:pt>
                <c:pt idx="832">
                  <c:v>44711</c:v>
                </c:pt>
                <c:pt idx="833">
                  <c:v>44712</c:v>
                </c:pt>
                <c:pt idx="834">
                  <c:v>44713</c:v>
                </c:pt>
                <c:pt idx="835">
                  <c:v>44714</c:v>
                </c:pt>
                <c:pt idx="836">
                  <c:v>44715</c:v>
                </c:pt>
                <c:pt idx="837">
                  <c:v>44718</c:v>
                </c:pt>
                <c:pt idx="838">
                  <c:v>44719</c:v>
                </c:pt>
                <c:pt idx="839">
                  <c:v>44720</c:v>
                </c:pt>
                <c:pt idx="840">
                  <c:v>44721</c:v>
                </c:pt>
                <c:pt idx="841">
                  <c:v>44722</c:v>
                </c:pt>
                <c:pt idx="842">
                  <c:v>44725</c:v>
                </c:pt>
                <c:pt idx="843">
                  <c:v>44726</c:v>
                </c:pt>
                <c:pt idx="844">
                  <c:v>44727</c:v>
                </c:pt>
                <c:pt idx="845">
                  <c:v>44728</c:v>
                </c:pt>
                <c:pt idx="846">
                  <c:v>44729</c:v>
                </c:pt>
                <c:pt idx="847">
                  <c:v>44732</c:v>
                </c:pt>
                <c:pt idx="848">
                  <c:v>44733</c:v>
                </c:pt>
                <c:pt idx="849">
                  <c:v>44734</c:v>
                </c:pt>
                <c:pt idx="850">
                  <c:v>44735</c:v>
                </c:pt>
                <c:pt idx="851">
                  <c:v>44736</c:v>
                </c:pt>
                <c:pt idx="852">
                  <c:v>44739</c:v>
                </c:pt>
                <c:pt idx="853">
                  <c:v>44740</c:v>
                </c:pt>
                <c:pt idx="854">
                  <c:v>44741</c:v>
                </c:pt>
                <c:pt idx="855">
                  <c:v>44742</c:v>
                </c:pt>
                <c:pt idx="856">
                  <c:v>44743</c:v>
                </c:pt>
                <c:pt idx="857">
                  <c:v>44746</c:v>
                </c:pt>
                <c:pt idx="858">
                  <c:v>44747</c:v>
                </c:pt>
                <c:pt idx="859">
                  <c:v>44749</c:v>
                </c:pt>
                <c:pt idx="860">
                  <c:v>44761</c:v>
                </c:pt>
                <c:pt idx="861">
                  <c:v>44762</c:v>
                </c:pt>
                <c:pt idx="862">
                  <c:v>44763</c:v>
                </c:pt>
                <c:pt idx="863">
                  <c:v>44764</c:v>
                </c:pt>
                <c:pt idx="864">
                  <c:v>44767</c:v>
                </c:pt>
                <c:pt idx="865">
                  <c:v>44768</c:v>
                </c:pt>
                <c:pt idx="866">
                  <c:v>44769</c:v>
                </c:pt>
                <c:pt idx="867">
                  <c:v>44770</c:v>
                </c:pt>
                <c:pt idx="868">
                  <c:v>44771</c:v>
                </c:pt>
                <c:pt idx="869">
                  <c:v>44774</c:v>
                </c:pt>
                <c:pt idx="870">
                  <c:v>44776</c:v>
                </c:pt>
                <c:pt idx="871">
                  <c:v>44777</c:v>
                </c:pt>
                <c:pt idx="872">
                  <c:v>44778</c:v>
                </c:pt>
                <c:pt idx="873">
                  <c:v>44781</c:v>
                </c:pt>
                <c:pt idx="874">
                  <c:v>44782</c:v>
                </c:pt>
                <c:pt idx="875">
                  <c:v>44783</c:v>
                </c:pt>
                <c:pt idx="876">
                  <c:v>44784</c:v>
                </c:pt>
                <c:pt idx="877">
                  <c:v>44785</c:v>
                </c:pt>
                <c:pt idx="878">
                  <c:v>44788</c:v>
                </c:pt>
                <c:pt idx="879">
                  <c:v>44789</c:v>
                </c:pt>
                <c:pt idx="880">
                  <c:v>44790</c:v>
                </c:pt>
                <c:pt idx="881">
                  <c:v>44791</c:v>
                </c:pt>
                <c:pt idx="882">
                  <c:v>44792</c:v>
                </c:pt>
                <c:pt idx="883">
                  <c:v>44795</c:v>
                </c:pt>
                <c:pt idx="884">
                  <c:v>44796</c:v>
                </c:pt>
                <c:pt idx="885">
                  <c:v>44797</c:v>
                </c:pt>
                <c:pt idx="886">
                  <c:v>44798</c:v>
                </c:pt>
                <c:pt idx="887">
                  <c:v>44799</c:v>
                </c:pt>
                <c:pt idx="888">
                  <c:v>44804</c:v>
                </c:pt>
                <c:pt idx="889">
                  <c:v>44805</c:v>
                </c:pt>
                <c:pt idx="890">
                  <c:v>44806</c:v>
                </c:pt>
                <c:pt idx="891">
                  <c:v>44809</c:v>
                </c:pt>
                <c:pt idx="892">
                  <c:v>44810</c:v>
                </c:pt>
                <c:pt idx="893">
                  <c:v>44811</c:v>
                </c:pt>
                <c:pt idx="894">
                  <c:v>44812</c:v>
                </c:pt>
                <c:pt idx="895">
                  <c:v>44813</c:v>
                </c:pt>
                <c:pt idx="896">
                  <c:v>44816</c:v>
                </c:pt>
                <c:pt idx="897">
                  <c:v>44817</c:v>
                </c:pt>
                <c:pt idx="898">
                  <c:v>44818</c:v>
                </c:pt>
                <c:pt idx="899">
                  <c:v>44819</c:v>
                </c:pt>
                <c:pt idx="900">
                  <c:v>44820</c:v>
                </c:pt>
                <c:pt idx="901">
                  <c:v>44823</c:v>
                </c:pt>
                <c:pt idx="902">
                  <c:v>44824</c:v>
                </c:pt>
                <c:pt idx="903">
                  <c:v>44825</c:v>
                </c:pt>
                <c:pt idx="904">
                  <c:v>44826</c:v>
                </c:pt>
                <c:pt idx="905">
                  <c:v>44827</c:v>
                </c:pt>
                <c:pt idx="906">
                  <c:v>44830</c:v>
                </c:pt>
                <c:pt idx="907">
                  <c:v>44831</c:v>
                </c:pt>
                <c:pt idx="908">
                  <c:v>44832</c:v>
                </c:pt>
                <c:pt idx="909">
                  <c:v>44833</c:v>
                </c:pt>
                <c:pt idx="910">
                  <c:v>44834</c:v>
                </c:pt>
                <c:pt idx="911">
                  <c:v>44837</c:v>
                </c:pt>
                <c:pt idx="912">
                  <c:v>44838</c:v>
                </c:pt>
                <c:pt idx="913">
                  <c:v>44839</c:v>
                </c:pt>
                <c:pt idx="914">
                  <c:v>44840</c:v>
                </c:pt>
                <c:pt idx="915">
                  <c:v>44841</c:v>
                </c:pt>
                <c:pt idx="916">
                  <c:v>44844</c:v>
                </c:pt>
                <c:pt idx="917">
                  <c:v>44845</c:v>
                </c:pt>
                <c:pt idx="918">
                  <c:v>44846</c:v>
                </c:pt>
                <c:pt idx="919">
                  <c:v>44847</c:v>
                </c:pt>
                <c:pt idx="920">
                  <c:v>44848</c:v>
                </c:pt>
                <c:pt idx="921">
                  <c:v>44851</c:v>
                </c:pt>
                <c:pt idx="922">
                  <c:v>44852</c:v>
                </c:pt>
                <c:pt idx="923">
                  <c:v>44853</c:v>
                </c:pt>
                <c:pt idx="924">
                  <c:v>44854</c:v>
                </c:pt>
                <c:pt idx="925">
                  <c:v>44855</c:v>
                </c:pt>
                <c:pt idx="926">
                  <c:v>44860</c:v>
                </c:pt>
                <c:pt idx="927">
                  <c:v>44861</c:v>
                </c:pt>
                <c:pt idx="928">
                  <c:v>44862</c:v>
                </c:pt>
                <c:pt idx="929">
                  <c:v>44865</c:v>
                </c:pt>
                <c:pt idx="930">
                  <c:v>44866</c:v>
                </c:pt>
                <c:pt idx="931">
                  <c:v>44867</c:v>
                </c:pt>
                <c:pt idx="932">
                  <c:v>44868</c:v>
                </c:pt>
                <c:pt idx="933">
                  <c:v>44869</c:v>
                </c:pt>
                <c:pt idx="934">
                  <c:v>44872</c:v>
                </c:pt>
                <c:pt idx="935">
                  <c:v>44873</c:v>
                </c:pt>
                <c:pt idx="936">
                  <c:v>44874</c:v>
                </c:pt>
                <c:pt idx="937">
                  <c:v>44875</c:v>
                </c:pt>
                <c:pt idx="938">
                  <c:v>44876</c:v>
                </c:pt>
                <c:pt idx="939">
                  <c:v>44879</c:v>
                </c:pt>
                <c:pt idx="940">
                  <c:v>44880</c:v>
                </c:pt>
                <c:pt idx="941">
                  <c:v>44881</c:v>
                </c:pt>
                <c:pt idx="942">
                  <c:v>44882</c:v>
                </c:pt>
                <c:pt idx="943">
                  <c:v>44883</c:v>
                </c:pt>
                <c:pt idx="944">
                  <c:v>44886</c:v>
                </c:pt>
                <c:pt idx="945">
                  <c:v>44887</c:v>
                </c:pt>
                <c:pt idx="946">
                  <c:v>44888</c:v>
                </c:pt>
                <c:pt idx="947">
                  <c:v>44889</c:v>
                </c:pt>
                <c:pt idx="948">
                  <c:v>44890</c:v>
                </c:pt>
                <c:pt idx="949">
                  <c:v>44893</c:v>
                </c:pt>
                <c:pt idx="950">
                  <c:v>44894</c:v>
                </c:pt>
                <c:pt idx="951">
                  <c:v>44895</c:v>
                </c:pt>
                <c:pt idx="952">
                  <c:v>44896</c:v>
                </c:pt>
                <c:pt idx="953">
                  <c:v>44897</c:v>
                </c:pt>
                <c:pt idx="954">
                  <c:v>44900</c:v>
                </c:pt>
                <c:pt idx="955">
                  <c:v>44901</c:v>
                </c:pt>
                <c:pt idx="956">
                  <c:v>44903</c:v>
                </c:pt>
                <c:pt idx="957">
                  <c:v>44904</c:v>
                </c:pt>
                <c:pt idx="958">
                  <c:v>44907</c:v>
                </c:pt>
                <c:pt idx="959">
                  <c:v>44908</c:v>
                </c:pt>
                <c:pt idx="960">
                  <c:v>44909</c:v>
                </c:pt>
                <c:pt idx="961">
                  <c:v>44910</c:v>
                </c:pt>
                <c:pt idx="962">
                  <c:v>44914</c:v>
                </c:pt>
                <c:pt idx="963">
                  <c:v>44915</c:v>
                </c:pt>
                <c:pt idx="964">
                  <c:v>44916</c:v>
                </c:pt>
                <c:pt idx="965">
                  <c:v>44918</c:v>
                </c:pt>
                <c:pt idx="966">
                  <c:v>44921</c:v>
                </c:pt>
                <c:pt idx="967">
                  <c:v>44922</c:v>
                </c:pt>
                <c:pt idx="968">
                  <c:v>44923</c:v>
                </c:pt>
                <c:pt idx="969">
                  <c:v>44924</c:v>
                </c:pt>
                <c:pt idx="970">
                  <c:v>44925</c:v>
                </c:pt>
                <c:pt idx="971">
                  <c:v>44930</c:v>
                </c:pt>
                <c:pt idx="972">
                  <c:v>44931</c:v>
                </c:pt>
                <c:pt idx="973">
                  <c:v>44932</c:v>
                </c:pt>
                <c:pt idx="974">
                  <c:v>44935</c:v>
                </c:pt>
                <c:pt idx="975">
                  <c:v>44936</c:v>
                </c:pt>
                <c:pt idx="976">
                  <c:v>44937</c:v>
                </c:pt>
                <c:pt idx="977">
                  <c:v>44938</c:v>
                </c:pt>
                <c:pt idx="978">
                  <c:v>44939</c:v>
                </c:pt>
                <c:pt idx="979">
                  <c:v>44942</c:v>
                </c:pt>
                <c:pt idx="980">
                  <c:v>44943</c:v>
                </c:pt>
                <c:pt idx="981">
                  <c:v>44944</c:v>
                </c:pt>
                <c:pt idx="982">
                  <c:v>44945</c:v>
                </c:pt>
                <c:pt idx="983">
                  <c:v>44946</c:v>
                </c:pt>
                <c:pt idx="984">
                  <c:v>44949</c:v>
                </c:pt>
                <c:pt idx="985">
                  <c:v>44950</c:v>
                </c:pt>
                <c:pt idx="986">
                  <c:v>44951</c:v>
                </c:pt>
                <c:pt idx="987">
                  <c:v>44952</c:v>
                </c:pt>
                <c:pt idx="988">
                  <c:v>44953</c:v>
                </c:pt>
                <c:pt idx="989">
                  <c:v>44956</c:v>
                </c:pt>
                <c:pt idx="990">
                  <c:v>44957</c:v>
                </c:pt>
                <c:pt idx="991">
                  <c:v>44958</c:v>
                </c:pt>
                <c:pt idx="992">
                  <c:v>44959</c:v>
                </c:pt>
                <c:pt idx="993">
                  <c:v>44960</c:v>
                </c:pt>
                <c:pt idx="994">
                  <c:v>44963</c:v>
                </c:pt>
                <c:pt idx="995">
                  <c:v>44964</c:v>
                </c:pt>
                <c:pt idx="996">
                  <c:v>44965</c:v>
                </c:pt>
                <c:pt idx="997">
                  <c:v>44966</c:v>
                </c:pt>
                <c:pt idx="998">
                  <c:v>44967</c:v>
                </c:pt>
                <c:pt idx="999">
                  <c:v>44970</c:v>
                </c:pt>
                <c:pt idx="1000">
                  <c:v>44971</c:v>
                </c:pt>
                <c:pt idx="1001">
                  <c:v>44972</c:v>
                </c:pt>
                <c:pt idx="1002">
                  <c:v>44973</c:v>
                </c:pt>
                <c:pt idx="1003">
                  <c:v>44974</c:v>
                </c:pt>
                <c:pt idx="1004">
                  <c:v>44977</c:v>
                </c:pt>
                <c:pt idx="1005">
                  <c:v>44978</c:v>
                </c:pt>
                <c:pt idx="1006">
                  <c:v>44979</c:v>
                </c:pt>
                <c:pt idx="1007">
                  <c:v>44980</c:v>
                </c:pt>
                <c:pt idx="1008">
                  <c:v>44981</c:v>
                </c:pt>
                <c:pt idx="1009">
                  <c:v>44984</c:v>
                </c:pt>
                <c:pt idx="1010">
                  <c:v>44985</c:v>
                </c:pt>
                <c:pt idx="1011">
                  <c:v>44986</c:v>
                </c:pt>
                <c:pt idx="1012">
                  <c:v>44987</c:v>
                </c:pt>
                <c:pt idx="1013">
                  <c:v>44988</c:v>
                </c:pt>
                <c:pt idx="1014">
                  <c:v>44991</c:v>
                </c:pt>
                <c:pt idx="1015">
                  <c:v>44992</c:v>
                </c:pt>
                <c:pt idx="1016">
                  <c:v>44994</c:v>
                </c:pt>
                <c:pt idx="1017">
                  <c:v>44995</c:v>
                </c:pt>
                <c:pt idx="1018">
                  <c:v>44998</c:v>
                </c:pt>
                <c:pt idx="1019">
                  <c:v>44999</c:v>
                </c:pt>
                <c:pt idx="1020">
                  <c:v>45000</c:v>
                </c:pt>
                <c:pt idx="1021">
                  <c:v>45001</c:v>
                </c:pt>
                <c:pt idx="1022">
                  <c:v>45002</c:v>
                </c:pt>
                <c:pt idx="1023">
                  <c:v>45005</c:v>
                </c:pt>
                <c:pt idx="1024">
                  <c:v>45009</c:v>
                </c:pt>
                <c:pt idx="1025">
                  <c:v>45012</c:v>
                </c:pt>
                <c:pt idx="1026">
                  <c:v>45013</c:v>
                </c:pt>
                <c:pt idx="1027">
                  <c:v>45014</c:v>
                </c:pt>
                <c:pt idx="1028">
                  <c:v>45015</c:v>
                </c:pt>
                <c:pt idx="1029">
                  <c:v>45016</c:v>
                </c:pt>
                <c:pt idx="1030">
                  <c:v>45019</c:v>
                </c:pt>
                <c:pt idx="1031">
                  <c:v>45020</c:v>
                </c:pt>
                <c:pt idx="1032">
                  <c:v>45021</c:v>
                </c:pt>
                <c:pt idx="1033">
                  <c:v>45022</c:v>
                </c:pt>
                <c:pt idx="1034">
                  <c:v>45023</c:v>
                </c:pt>
                <c:pt idx="1035">
                  <c:v>45026</c:v>
                </c:pt>
                <c:pt idx="1036">
                  <c:v>45027</c:v>
                </c:pt>
                <c:pt idx="1037">
                  <c:v>45028</c:v>
                </c:pt>
                <c:pt idx="1038">
                  <c:v>45029</c:v>
                </c:pt>
                <c:pt idx="1039">
                  <c:v>45030</c:v>
                </c:pt>
                <c:pt idx="1040">
                  <c:v>45033</c:v>
                </c:pt>
                <c:pt idx="1041">
                  <c:v>45034</c:v>
                </c:pt>
                <c:pt idx="1042">
                  <c:v>45035</c:v>
                </c:pt>
                <c:pt idx="1043">
                  <c:v>45036</c:v>
                </c:pt>
                <c:pt idx="1044">
                  <c:v>45037</c:v>
                </c:pt>
                <c:pt idx="1045">
                  <c:v>45040</c:v>
                </c:pt>
                <c:pt idx="1046">
                  <c:v>45041</c:v>
                </c:pt>
                <c:pt idx="1047">
                  <c:v>45042</c:v>
                </c:pt>
                <c:pt idx="1048">
                  <c:v>45043</c:v>
                </c:pt>
                <c:pt idx="1049">
                  <c:v>45044</c:v>
                </c:pt>
                <c:pt idx="1050">
                  <c:v>45048</c:v>
                </c:pt>
                <c:pt idx="1051">
                  <c:v>45049</c:v>
                </c:pt>
                <c:pt idx="1052">
                  <c:v>45050</c:v>
                </c:pt>
                <c:pt idx="1053">
                  <c:v>45051</c:v>
                </c:pt>
                <c:pt idx="1054">
                  <c:v>45056</c:v>
                </c:pt>
                <c:pt idx="1055">
                  <c:v>45057</c:v>
                </c:pt>
                <c:pt idx="1056">
                  <c:v>45058</c:v>
                </c:pt>
                <c:pt idx="1057">
                  <c:v>45061</c:v>
                </c:pt>
                <c:pt idx="1058">
                  <c:v>45062</c:v>
                </c:pt>
                <c:pt idx="1059">
                  <c:v>45063</c:v>
                </c:pt>
                <c:pt idx="1060">
                  <c:v>45064</c:v>
                </c:pt>
                <c:pt idx="1061">
                  <c:v>45065</c:v>
                </c:pt>
                <c:pt idx="1062">
                  <c:v>45068</c:v>
                </c:pt>
                <c:pt idx="1063">
                  <c:v>45069</c:v>
                </c:pt>
                <c:pt idx="1064">
                  <c:v>45070</c:v>
                </c:pt>
                <c:pt idx="1065">
                  <c:v>45072</c:v>
                </c:pt>
                <c:pt idx="1066">
                  <c:v>45075</c:v>
                </c:pt>
                <c:pt idx="1067">
                  <c:v>45076</c:v>
                </c:pt>
                <c:pt idx="1068">
                  <c:v>45078</c:v>
                </c:pt>
                <c:pt idx="1069">
                  <c:v>45079</c:v>
                </c:pt>
                <c:pt idx="1070">
                  <c:v>45083</c:v>
                </c:pt>
                <c:pt idx="1071">
                  <c:v>45084</c:v>
                </c:pt>
                <c:pt idx="1072">
                  <c:v>45085</c:v>
                </c:pt>
                <c:pt idx="1073">
                  <c:v>45086</c:v>
                </c:pt>
                <c:pt idx="1074">
                  <c:v>45089</c:v>
                </c:pt>
                <c:pt idx="1075">
                  <c:v>45091</c:v>
                </c:pt>
                <c:pt idx="1076">
                  <c:v>45092</c:v>
                </c:pt>
                <c:pt idx="1077">
                  <c:v>45096</c:v>
                </c:pt>
                <c:pt idx="1078">
                  <c:v>45097</c:v>
                </c:pt>
                <c:pt idx="1079">
                  <c:v>45099</c:v>
                </c:pt>
                <c:pt idx="1080">
                  <c:v>45100</c:v>
                </c:pt>
                <c:pt idx="1081">
                  <c:v>45104</c:v>
                </c:pt>
                <c:pt idx="1082">
                  <c:v>45106</c:v>
                </c:pt>
                <c:pt idx="1083">
                  <c:v>45107</c:v>
                </c:pt>
                <c:pt idx="1084">
                  <c:v>45110</c:v>
                </c:pt>
                <c:pt idx="1085">
                  <c:v>45111</c:v>
                </c:pt>
                <c:pt idx="1086">
                  <c:v>45112</c:v>
                </c:pt>
                <c:pt idx="1087">
                  <c:v>45117</c:v>
                </c:pt>
                <c:pt idx="1088">
                  <c:v>45118</c:v>
                </c:pt>
                <c:pt idx="1089">
                  <c:v>45119</c:v>
                </c:pt>
                <c:pt idx="1090">
                  <c:v>45120</c:v>
                </c:pt>
                <c:pt idx="1091">
                  <c:v>45121</c:v>
                </c:pt>
                <c:pt idx="1092">
                  <c:v>45124</c:v>
                </c:pt>
                <c:pt idx="1093">
                  <c:v>45125</c:v>
                </c:pt>
                <c:pt idx="1094">
                  <c:v>45126</c:v>
                </c:pt>
                <c:pt idx="1095">
                  <c:v>45127</c:v>
                </c:pt>
                <c:pt idx="1096">
                  <c:v>45128</c:v>
                </c:pt>
                <c:pt idx="1097">
                  <c:v>45131</c:v>
                </c:pt>
                <c:pt idx="1098">
                  <c:v>45132</c:v>
                </c:pt>
                <c:pt idx="1099">
                  <c:v>45133</c:v>
                </c:pt>
                <c:pt idx="1100">
                  <c:v>45134</c:v>
                </c:pt>
                <c:pt idx="1101">
                  <c:v>45135</c:v>
                </c:pt>
                <c:pt idx="1102">
                  <c:v>45138</c:v>
                </c:pt>
                <c:pt idx="1103">
                  <c:v>45139</c:v>
                </c:pt>
                <c:pt idx="1104">
                  <c:v>45140</c:v>
                </c:pt>
                <c:pt idx="1105">
                  <c:v>45141</c:v>
                </c:pt>
                <c:pt idx="1106">
                  <c:v>45142</c:v>
                </c:pt>
                <c:pt idx="1107">
                  <c:v>45145</c:v>
                </c:pt>
                <c:pt idx="1108">
                  <c:v>45146</c:v>
                </c:pt>
                <c:pt idx="1109">
                  <c:v>45147</c:v>
                </c:pt>
                <c:pt idx="1110">
                  <c:v>45148</c:v>
                </c:pt>
                <c:pt idx="1111">
                  <c:v>45149</c:v>
                </c:pt>
                <c:pt idx="1112">
                  <c:v>45152</c:v>
                </c:pt>
                <c:pt idx="1113">
                  <c:v>45153</c:v>
                </c:pt>
                <c:pt idx="1114">
                  <c:v>45154</c:v>
                </c:pt>
                <c:pt idx="1115">
                  <c:v>45155</c:v>
                </c:pt>
                <c:pt idx="1116">
                  <c:v>45156</c:v>
                </c:pt>
                <c:pt idx="1117">
                  <c:v>45159</c:v>
                </c:pt>
                <c:pt idx="1118">
                  <c:v>45160</c:v>
                </c:pt>
                <c:pt idx="1119">
                  <c:v>45161</c:v>
                </c:pt>
                <c:pt idx="1120">
                  <c:v>45162</c:v>
                </c:pt>
                <c:pt idx="1121">
                  <c:v>45163</c:v>
                </c:pt>
                <c:pt idx="1122">
                  <c:v>45166</c:v>
                </c:pt>
                <c:pt idx="1123">
                  <c:v>45167</c:v>
                </c:pt>
                <c:pt idx="1124">
                  <c:v>45169</c:v>
                </c:pt>
                <c:pt idx="1125">
                  <c:v>45170</c:v>
                </c:pt>
                <c:pt idx="1126">
                  <c:v>45173</c:v>
                </c:pt>
                <c:pt idx="1127">
                  <c:v>45174</c:v>
                </c:pt>
                <c:pt idx="1128">
                  <c:v>45175</c:v>
                </c:pt>
                <c:pt idx="1129">
                  <c:v>45176</c:v>
                </c:pt>
                <c:pt idx="1130">
                  <c:v>45177</c:v>
                </c:pt>
                <c:pt idx="1131">
                  <c:v>45180</c:v>
                </c:pt>
                <c:pt idx="1132">
                  <c:v>45181</c:v>
                </c:pt>
                <c:pt idx="1133">
                  <c:v>45182</c:v>
                </c:pt>
                <c:pt idx="1134">
                  <c:v>45183</c:v>
                </c:pt>
                <c:pt idx="1135">
                  <c:v>45184</c:v>
                </c:pt>
                <c:pt idx="1136">
                  <c:v>45187</c:v>
                </c:pt>
                <c:pt idx="1137">
                  <c:v>45188</c:v>
                </c:pt>
                <c:pt idx="1138">
                  <c:v>45189</c:v>
                </c:pt>
                <c:pt idx="1139">
                  <c:v>45190</c:v>
                </c:pt>
                <c:pt idx="1140">
                  <c:v>45191</c:v>
                </c:pt>
                <c:pt idx="1141">
                  <c:v>45194</c:v>
                </c:pt>
                <c:pt idx="1142">
                  <c:v>45195</c:v>
                </c:pt>
                <c:pt idx="1143">
                  <c:v>45196</c:v>
                </c:pt>
                <c:pt idx="1144">
                  <c:v>45197</c:v>
                </c:pt>
                <c:pt idx="1145">
                  <c:v>45198</c:v>
                </c:pt>
                <c:pt idx="1146">
                  <c:v>45201</c:v>
                </c:pt>
                <c:pt idx="1147">
                  <c:v>45202</c:v>
                </c:pt>
                <c:pt idx="1148">
                  <c:v>45203</c:v>
                </c:pt>
                <c:pt idx="1149">
                  <c:v>45204</c:v>
                </c:pt>
                <c:pt idx="1150">
                  <c:v>45205</c:v>
                </c:pt>
                <c:pt idx="1151">
                  <c:v>45208</c:v>
                </c:pt>
                <c:pt idx="1152">
                  <c:v>45209</c:v>
                </c:pt>
                <c:pt idx="1153">
                  <c:v>45210</c:v>
                </c:pt>
                <c:pt idx="1154">
                  <c:v>45211</c:v>
                </c:pt>
                <c:pt idx="1155">
                  <c:v>45212</c:v>
                </c:pt>
                <c:pt idx="1156">
                  <c:v>45215</c:v>
                </c:pt>
                <c:pt idx="1157">
                  <c:v>45216</c:v>
                </c:pt>
                <c:pt idx="1158">
                  <c:v>45217</c:v>
                </c:pt>
                <c:pt idx="1159">
                  <c:v>45218</c:v>
                </c:pt>
                <c:pt idx="1160">
                  <c:v>45219</c:v>
                </c:pt>
                <c:pt idx="1161">
                  <c:v>45222</c:v>
                </c:pt>
                <c:pt idx="1162">
                  <c:v>45223</c:v>
                </c:pt>
                <c:pt idx="1163">
                  <c:v>45225</c:v>
                </c:pt>
                <c:pt idx="1164">
                  <c:v>45229</c:v>
                </c:pt>
                <c:pt idx="1165">
                  <c:v>45230</c:v>
                </c:pt>
                <c:pt idx="1166">
                  <c:v>45231</c:v>
                </c:pt>
                <c:pt idx="1167">
                  <c:v>45232</c:v>
                </c:pt>
                <c:pt idx="1168">
                  <c:v>45233</c:v>
                </c:pt>
                <c:pt idx="1169">
                  <c:v>45236</c:v>
                </c:pt>
                <c:pt idx="1170">
                  <c:v>45237</c:v>
                </c:pt>
                <c:pt idx="1171">
                  <c:v>45238</c:v>
                </c:pt>
                <c:pt idx="1172">
                  <c:v>45239</c:v>
                </c:pt>
                <c:pt idx="1173">
                  <c:v>45240</c:v>
                </c:pt>
                <c:pt idx="1174">
                  <c:v>45243</c:v>
                </c:pt>
                <c:pt idx="1175">
                  <c:v>45244</c:v>
                </c:pt>
                <c:pt idx="1176">
                  <c:v>45245</c:v>
                </c:pt>
                <c:pt idx="1177">
                  <c:v>45246</c:v>
                </c:pt>
                <c:pt idx="1178">
                  <c:v>45247</c:v>
                </c:pt>
                <c:pt idx="1179">
                  <c:v>45250</c:v>
                </c:pt>
                <c:pt idx="1180">
                  <c:v>45251</c:v>
                </c:pt>
                <c:pt idx="1181">
                  <c:v>45252</c:v>
                </c:pt>
                <c:pt idx="1182">
                  <c:v>45253</c:v>
                </c:pt>
                <c:pt idx="1183">
                  <c:v>45254</c:v>
                </c:pt>
                <c:pt idx="1184">
                  <c:v>45257</c:v>
                </c:pt>
                <c:pt idx="1185">
                  <c:v>45258</c:v>
                </c:pt>
                <c:pt idx="1186">
                  <c:v>45259</c:v>
                </c:pt>
                <c:pt idx="1187">
                  <c:v>45260</c:v>
                </c:pt>
                <c:pt idx="1188">
                  <c:v>45261</c:v>
                </c:pt>
                <c:pt idx="1189">
                  <c:v>45264</c:v>
                </c:pt>
                <c:pt idx="1190">
                  <c:v>45265</c:v>
                </c:pt>
                <c:pt idx="1191">
                  <c:v>45266</c:v>
                </c:pt>
                <c:pt idx="1192">
                  <c:v>45267</c:v>
                </c:pt>
                <c:pt idx="1193">
                  <c:v>45268</c:v>
                </c:pt>
                <c:pt idx="1194">
                  <c:v>45271</c:v>
                </c:pt>
                <c:pt idx="1195">
                  <c:v>45272</c:v>
                </c:pt>
                <c:pt idx="1196">
                  <c:v>45273</c:v>
                </c:pt>
                <c:pt idx="1197">
                  <c:v>45274</c:v>
                </c:pt>
                <c:pt idx="1198">
                  <c:v>45275</c:v>
                </c:pt>
                <c:pt idx="1199">
                  <c:v>45279</c:v>
                </c:pt>
                <c:pt idx="1200">
                  <c:v>45280</c:v>
                </c:pt>
                <c:pt idx="1201">
                  <c:v>45281</c:v>
                </c:pt>
                <c:pt idx="1202">
                  <c:v>45282</c:v>
                </c:pt>
                <c:pt idx="1203">
                  <c:v>45285</c:v>
                </c:pt>
                <c:pt idx="1204">
                  <c:v>45286</c:v>
                </c:pt>
                <c:pt idx="1205">
                  <c:v>45287</c:v>
                </c:pt>
                <c:pt idx="1206">
                  <c:v>45288</c:v>
                </c:pt>
                <c:pt idx="1207">
                  <c:v>45289</c:v>
                </c:pt>
                <c:pt idx="1208">
                  <c:v>45294</c:v>
                </c:pt>
                <c:pt idx="1209">
                  <c:v>45295</c:v>
                </c:pt>
                <c:pt idx="1210">
                  <c:v>45296</c:v>
                </c:pt>
                <c:pt idx="1211">
                  <c:v>45299</c:v>
                </c:pt>
                <c:pt idx="1212">
                  <c:v>45300</c:v>
                </c:pt>
                <c:pt idx="1213">
                  <c:v>45301</c:v>
                </c:pt>
                <c:pt idx="1214">
                  <c:v>45302</c:v>
                </c:pt>
                <c:pt idx="1215">
                  <c:v>45303</c:v>
                </c:pt>
                <c:pt idx="1216">
                  <c:v>45306</c:v>
                </c:pt>
                <c:pt idx="1217">
                  <c:v>45307</c:v>
                </c:pt>
                <c:pt idx="1218">
                  <c:v>45308</c:v>
                </c:pt>
                <c:pt idx="1219">
                  <c:v>45309</c:v>
                </c:pt>
                <c:pt idx="1220">
                  <c:v>45310</c:v>
                </c:pt>
                <c:pt idx="1221">
                  <c:v>45313</c:v>
                </c:pt>
                <c:pt idx="1222">
                  <c:v>45314</c:v>
                </c:pt>
                <c:pt idx="1223">
                  <c:v>45315</c:v>
                </c:pt>
                <c:pt idx="1224">
                  <c:v>45316</c:v>
                </c:pt>
                <c:pt idx="1225">
                  <c:v>45317</c:v>
                </c:pt>
                <c:pt idx="1226">
                  <c:v>45320</c:v>
                </c:pt>
                <c:pt idx="1227">
                  <c:v>45321</c:v>
                </c:pt>
                <c:pt idx="1228">
                  <c:v>45322</c:v>
                </c:pt>
                <c:pt idx="1229">
                  <c:v>45323</c:v>
                </c:pt>
                <c:pt idx="1230">
                  <c:v>45324</c:v>
                </c:pt>
                <c:pt idx="1231">
                  <c:v>45327</c:v>
                </c:pt>
                <c:pt idx="1232">
                  <c:v>45328</c:v>
                </c:pt>
                <c:pt idx="1233">
                  <c:v>45329</c:v>
                </c:pt>
                <c:pt idx="1234">
                  <c:v>45330</c:v>
                </c:pt>
                <c:pt idx="1235">
                  <c:v>45331</c:v>
                </c:pt>
                <c:pt idx="1236">
                  <c:v>45334</c:v>
                </c:pt>
                <c:pt idx="1237">
                  <c:v>45335</c:v>
                </c:pt>
                <c:pt idx="1238">
                  <c:v>45336</c:v>
                </c:pt>
                <c:pt idx="1239">
                  <c:v>45337</c:v>
                </c:pt>
                <c:pt idx="1240">
                  <c:v>45338</c:v>
                </c:pt>
                <c:pt idx="1241">
                  <c:v>45341</c:v>
                </c:pt>
                <c:pt idx="1242">
                  <c:v>45342</c:v>
                </c:pt>
                <c:pt idx="1243">
                  <c:v>45343</c:v>
                </c:pt>
                <c:pt idx="1244">
                  <c:v>45344</c:v>
                </c:pt>
                <c:pt idx="1245">
                  <c:v>45345</c:v>
                </c:pt>
                <c:pt idx="1246">
                  <c:v>45348</c:v>
                </c:pt>
                <c:pt idx="1247">
                  <c:v>45349</c:v>
                </c:pt>
                <c:pt idx="1248">
                  <c:v>45350</c:v>
                </c:pt>
                <c:pt idx="1249">
                  <c:v>45351</c:v>
                </c:pt>
                <c:pt idx="1250">
                  <c:v>45352</c:v>
                </c:pt>
                <c:pt idx="1251">
                  <c:v>45355</c:v>
                </c:pt>
                <c:pt idx="1252">
                  <c:v>45356</c:v>
                </c:pt>
                <c:pt idx="1253">
                  <c:v>45357</c:v>
                </c:pt>
                <c:pt idx="1254">
                  <c:v>45358</c:v>
                </c:pt>
                <c:pt idx="1255">
                  <c:v>45362</c:v>
                </c:pt>
                <c:pt idx="1256">
                  <c:v>45363</c:v>
                </c:pt>
                <c:pt idx="1257">
                  <c:v>45364</c:v>
                </c:pt>
                <c:pt idx="1258">
                  <c:v>45365</c:v>
                </c:pt>
                <c:pt idx="1259">
                  <c:v>45366</c:v>
                </c:pt>
                <c:pt idx="1260">
                  <c:v>45369</c:v>
                </c:pt>
                <c:pt idx="1261">
                  <c:v>45370</c:v>
                </c:pt>
                <c:pt idx="1262">
                  <c:v>45371</c:v>
                </c:pt>
                <c:pt idx="1263">
                  <c:v>45377</c:v>
                </c:pt>
                <c:pt idx="1264">
                  <c:v>45378</c:v>
                </c:pt>
                <c:pt idx="1265">
                  <c:v>45379</c:v>
                </c:pt>
                <c:pt idx="1266">
                  <c:v>45380</c:v>
                </c:pt>
                <c:pt idx="1267">
                  <c:v>45383</c:v>
                </c:pt>
                <c:pt idx="1268">
                  <c:v>45384</c:v>
                </c:pt>
                <c:pt idx="1269">
                  <c:v>45385</c:v>
                </c:pt>
                <c:pt idx="1270">
                  <c:v>45386</c:v>
                </c:pt>
                <c:pt idx="1271">
                  <c:v>45387</c:v>
                </c:pt>
                <c:pt idx="1272">
                  <c:v>45390</c:v>
                </c:pt>
                <c:pt idx="1273">
                  <c:v>45391</c:v>
                </c:pt>
                <c:pt idx="1274">
                  <c:v>45392</c:v>
                </c:pt>
                <c:pt idx="1275">
                  <c:v>45393</c:v>
                </c:pt>
                <c:pt idx="1276">
                  <c:v>45394</c:v>
                </c:pt>
                <c:pt idx="1277">
                  <c:v>45397</c:v>
                </c:pt>
                <c:pt idx="1278">
                  <c:v>45398</c:v>
                </c:pt>
                <c:pt idx="1279">
                  <c:v>45399</c:v>
                </c:pt>
                <c:pt idx="1280">
                  <c:v>45400</c:v>
                </c:pt>
                <c:pt idx="1281">
                  <c:v>45401</c:v>
                </c:pt>
                <c:pt idx="1282">
                  <c:v>45404</c:v>
                </c:pt>
                <c:pt idx="1283">
                  <c:v>45405</c:v>
                </c:pt>
                <c:pt idx="1284">
                  <c:v>45406</c:v>
                </c:pt>
                <c:pt idx="1285">
                  <c:v>45407</c:v>
                </c:pt>
                <c:pt idx="1286">
                  <c:v>45408</c:v>
                </c:pt>
                <c:pt idx="1287">
                  <c:v>45411</c:v>
                </c:pt>
                <c:pt idx="1288">
                  <c:v>45412</c:v>
                </c:pt>
                <c:pt idx="1289" formatCode="m/d/yyyy">
                  <c:v>45414</c:v>
                </c:pt>
                <c:pt idx="1290" formatCode="m/d/yyyy">
                  <c:v>45415</c:v>
                </c:pt>
                <c:pt idx="1291" formatCode="m/d/yyyy">
                  <c:v>45418</c:v>
                </c:pt>
                <c:pt idx="1292" formatCode="m/d/yyyy">
                  <c:v>45422</c:v>
                </c:pt>
                <c:pt idx="1293" formatCode="m/d/yyyy">
                  <c:v>45425</c:v>
                </c:pt>
                <c:pt idx="1294" formatCode="m/d/yyyy">
                  <c:v>45426</c:v>
                </c:pt>
                <c:pt idx="1295" formatCode="m/d/yyyy">
                  <c:v>45427</c:v>
                </c:pt>
                <c:pt idx="1296" formatCode="m/d/yyyy">
                  <c:v>45428</c:v>
                </c:pt>
                <c:pt idx="1297" formatCode="m/d/yyyy">
                  <c:v>45429</c:v>
                </c:pt>
                <c:pt idx="1298" formatCode="m/d/yyyy">
                  <c:v>45432</c:v>
                </c:pt>
                <c:pt idx="1299" formatCode="m/d/yyyy">
                  <c:v>45433</c:v>
                </c:pt>
                <c:pt idx="1300" formatCode="m/d/yyyy">
                  <c:v>45434</c:v>
                </c:pt>
                <c:pt idx="1301" formatCode="m/d/yyyy">
                  <c:v>45435</c:v>
                </c:pt>
                <c:pt idx="1302" formatCode="m/d/yyyy">
                  <c:v>45436</c:v>
                </c:pt>
                <c:pt idx="1303" formatCode="m/d/yyyy">
                  <c:v>45439</c:v>
                </c:pt>
                <c:pt idx="1304" formatCode="m/d/yyyy">
                  <c:v>45440</c:v>
                </c:pt>
                <c:pt idx="1305" formatCode="m/d/yyyy">
                  <c:v>45441</c:v>
                </c:pt>
                <c:pt idx="1306" formatCode="m/d/yyyy">
                  <c:v>45442</c:v>
                </c:pt>
                <c:pt idx="1307" formatCode="m/d/yyyy">
                  <c:v>45443</c:v>
                </c:pt>
                <c:pt idx="1308">
                  <c:v>45446</c:v>
                </c:pt>
                <c:pt idx="1309">
                  <c:v>45447</c:v>
                </c:pt>
                <c:pt idx="1310">
                  <c:v>45448</c:v>
                </c:pt>
                <c:pt idx="1311">
                  <c:v>45449</c:v>
                </c:pt>
                <c:pt idx="1312">
                  <c:v>45450</c:v>
                </c:pt>
                <c:pt idx="1313">
                  <c:v>45453</c:v>
                </c:pt>
                <c:pt idx="1314">
                  <c:v>45454</c:v>
                </c:pt>
                <c:pt idx="1315">
                  <c:v>45455</c:v>
                </c:pt>
                <c:pt idx="1316">
                  <c:v>45456</c:v>
                </c:pt>
                <c:pt idx="1317">
                  <c:v>45457</c:v>
                </c:pt>
                <c:pt idx="1318">
                  <c:v>45460</c:v>
                </c:pt>
                <c:pt idx="1319">
                  <c:v>45461</c:v>
                </c:pt>
                <c:pt idx="1320">
                  <c:v>45462</c:v>
                </c:pt>
                <c:pt idx="1321">
                  <c:v>45463</c:v>
                </c:pt>
                <c:pt idx="1322">
                  <c:v>45464</c:v>
                </c:pt>
                <c:pt idx="1323">
                  <c:v>45467</c:v>
                </c:pt>
                <c:pt idx="1324">
                  <c:v>45468</c:v>
                </c:pt>
                <c:pt idx="1325">
                  <c:v>45469</c:v>
                </c:pt>
                <c:pt idx="1326">
                  <c:v>45470</c:v>
                </c:pt>
                <c:pt idx="1327">
                  <c:v>45471</c:v>
                </c:pt>
                <c:pt idx="1328">
                  <c:v>45474</c:v>
                </c:pt>
                <c:pt idx="1329">
                  <c:v>45475</c:v>
                </c:pt>
                <c:pt idx="1330">
                  <c:v>45476</c:v>
                </c:pt>
                <c:pt idx="1331">
                  <c:v>45477</c:v>
                </c:pt>
                <c:pt idx="1332">
                  <c:v>45478</c:v>
                </c:pt>
                <c:pt idx="1333">
                  <c:v>45482</c:v>
                </c:pt>
                <c:pt idx="1334">
                  <c:v>45483</c:v>
                </c:pt>
                <c:pt idx="1335">
                  <c:v>45484</c:v>
                </c:pt>
                <c:pt idx="1336">
                  <c:v>45485</c:v>
                </c:pt>
                <c:pt idx="1337">
                  <c:v>45488</c:v>
                </c:pt>
                <c:pt idx="1338">
                  <c:v>45489</c:v>
                </c:pt>
                <c:pt idx="1339">
                  <c:v>45490</c:v>
                </c:pt>
                <c:pt idx="1340">
                  <c:v>45491</c:v>
                </c:pt>
                <c:pt idx="1341">
                  <c:v>45492</c:v>
                </c:pt>
                <c:pt idx="1342">
                  <c:v>45495</c:v>
                </c:pt>
                <c:pt idx="1343">
                  <c:v>45496</c:v>
                </c:pt>
                <c:pt idx="1344">
                  <c:v>45497</c:v>
                </c:pt>
                <c:pt idx="1345">
                  <c:v>45498</c:v>
                </c:pt>
                <c:pt idx="1346">
                  <c:v>45499</c:v>
                </c:pt>
                <c:pt idx="1347">
                  <c:v>45502</c:v>
                </c:pt>
                <c:pt idx="1348">
                  <c:v>45503</c:v>
                </c:pt>
                <c:pt idx="1349">
                  <c:v>45504</c:v>
                </c:pt>
                <c:pt idx="1350">
                  <c:v>45505</c:v>
                </c:pt>
                <c:pt idx="1351">
                  <c:v>45506</c:v>
                </c:pt>
                <c:pt idx="1352">
                  <c:v>45509</c:v>
                </c:pt>
                <c:pt idx="1353">
                  <c:v>45510</c:v>
                </c:pt>
                <c:pt idx="1354">
                  <c:v>45511</c:v>
                </c:pt>
                <c:pt idx="1355">
                  <c:v>45512</c:v>
                </c:pt>
                <c:pt idx="1356">
                  <c:v>45513</c:v>
                </c:pt>
                <c:pt idx="1357">
                  <c:v>45516</c:v>
                </c:pt>
                <c:pt idx="1358">
                  <c:v>45517</c:v>
                </c:pt>
                <c:pt idx="1359">
                  <c:v>45518</c:v>
                </c:pt>
                <c:pt idx="1360">
                  <c:v>45519</c:v>
                </c:pt>
                <c:pt idx="1361">
                  <c:v>45520</c:v>
                </c:pt>
                <c:pt idx="1362">
                  <c:v>45523</c:v>
                </c:pt>
                <c:pt idx="1363">
                  <c:v>45524</c:v>
                </c:pt>
                <c:pt idx="1364">
                  <c:v>45525</c:v>
                </c:pt>
                <c:pt idx="1365">
                  <c:v>45526</c:v>
                </c:pt>
                <c:pt idx="1366">
                  <c:v>45527</c:v>
                </c:pt>
                <c:pt idx="1367">
                  <c:v>45530</c:v>
                </c:pt>
                <c:pt idx="1368">
                  <c:v>45531</c:v>
                </c:pt>
                <c:pt idx="1369">
                  <c:v>45532</c:v>
                </c:pt>
                <c:pt idx="1370">
                  <c:v>45533</c:v>
                </c:pt>
                <c:pt idx="1371">
                  <c:v>45537</c:v>
                </c:pt>
                <c:pt idx="1372">
                  <c:v>45538</c:v>
                </c:pt>
                <c:pt idx="1373">
                  <c:v>45539</c:v>
                </c:pt>
                <c:pt idx="1374">
                  <c:v>45540</c:v>
                </c:pt>
                <c:pt idx="1375">
                  <c:v>45541</c:v>
                </c:pt>
                <c:pt idx="1376">
                  <c:v>45544</c:v>
                </c:pt>
                <c:pt idx="1377">
                  <c:v>45545</c:v>
                </c:pt>
                <c:pt idx="1378">
                  <c:v>45546</c:v>
                </c:pt>
                <c:pt idx="1379">
                  <c:v>45547</c:v>
                </c:pt>
                <c:pt idx="1380">
                  <c:v>45548</c:v>
                </c:pt>
                <c:pt idx="1381">
                  <c:v>45551</c:v>
                </c:pt>
                <c:pt idx="1382">
                  <c:v>45552</c:v>
                </c:pt>
                <c:pt idx="1383">
                  <c:v>45553</c:v>
                </c:pt>
                <c:pt idx="1384">
                  <c:v>45554</c:v>
                </c:pt>
                <c:pt idx="1385">
                  <c:v>45555</c:v>
                </c:pt>
                <c:pt idx="1386">
                  <c:v>45558</c:v>
                </c:pt>
                <c:pt idx="1387">
                  <c:v>45559</c:v>
                </c:pt>
                <c:pt idx="1388">
                  <c:v>45560</c:v>
                </c:pt>
                <c:pt idx="1389">
                  <c:v>45561</c:v>
                </c:pt>
                <c:pt idx="1390">
                  <c:v>45562</c:v>
                </c:pt>
                <c:pt idx="1391">
                  <c:v>45565</c:v>
                </c:pt>
                <c:pt idx="1392">
                  <c:v>45566</c:v>
                </c:pt>
                <c:pt idx="1393">
                  <c:v>45567</c:v>
                </c:pt>
                <c:pt idx="1394">
                  <c:v>45568</c:v>
                </c:pt>
                <c:pt idx="1395">
                  <c:v>45569</c:v>
                </c:pt>
                <c:pt idx="1396">
                  <c:v>45572</c:v>
                </c:pt>
                <c:pt idx="1397">
                  <c:v>45573</c:v>
                </c:pt>
                <c:pt idx="1398">
                  <c:v>45574</c:v>
                </c:pt>
                <c:pt idx="1399">
                  <c:v>45575</c:v>
                </c:pt>
                <c:pt idx="1400">
                  <c:v>45576</c:v>
                </c:pt>
                <c:pt idx="1401">
                  <c:v>45579</c:v>
                </c:pt>
                <c:pt idx="1402">
                  <c:v>45580</c:v>
                </c:pt>
                <c:pt idx="1403">
                  <c:v>45581</c:v>
                </c:pt>
                <c:pt idx="1404">
                  <c:v>45582</c:v>
                </c:pt>
                <c:pt idx="1405">
                  <c:v>45583</c:v>
                </c:pt>
                <c:pt idx="1406">
                  <c:v>45586</c:v>
                </c:pt>
                <c:pt idx="1407">
                  <c:v>45587</c:v>
                </c:pt>
                <c:pt idx="1408">
                  <c:v>45588</c:v>
                </c:pt>
                <c:pt idx="1409">
                  <c:v>45589</c:v>
                </c:pt>
                <c:pt idx="1410">
                  <c:v>45593</c:v>
                </c:pt>
                <c:pt idx="1411">
                  <c:v>45594</c:v>
                </c:pt>
                <c:pt idx="1412">
                  <c:v>45595</c:v>
                </c:pt>
                <c:pt idx="1413">
                  <c:v>45596</c:v>
                </c:pt>
                <c:pt idx="1414">
                  <c:v>45597</c:v>
                </c:pt>
                <c:pt idx="1415">
                  <c:v>45600</c:v>
                </c:pt>
                <c:pt idx="1416">
                  <c:v>45601</c:v>
                </c:pt>
                <c:pt idx="1417">
                  <c:v>45602</c:v>
                </c:pt>
                <c:pt idx="1418">
                  <c:v>45603</c:v>
                </c:pt>
                <c:pt idx="1419">
                  <c:v>45604</c:v>
                </c:pt>
                <c:pt idx="1420">
                  <c:v>45607</c:v>
                </c:pt>
                <c:pt idx="1421">
                  <c:v>45608</c:v>
                </c:pt>
                <c:pt idx="1422">
                  <c:v>45609</c:v>
                </c:pt>
                <c:pt idx="1423">
                  <c:v>45610</c:v>
                </c:pt>
                <c:pt idx="1424">
                  <c:v>45611</c:v>
                </c:pt>
                <c:pt idx="1425">
                  <c:v>45614</c:v>
                </c:pt>
                <c:pt idx="1426">
                  <c:v>45615</c:v>
                </c:pt>
                <c:pt idx="1427">
                  <c:v>45616</c:v>
                </c:pt>
                <c:pt idx="1428">
                  <c:v>45617</c:v>
                </c:pt>
                <c:pt idx="1429">
                  <c:v>45618</c:v>
                </c:pt>
                <c:pt idx="1430">
                  <c:v>45621</c:v>
                </c:pt>
                <c:pt idx="1431">
                  <c:v>45622</c:v>
                </c:pt>
                <c:pt idx="1432">
                  <c:v>45623</c:v>
                </c:pt>
                <c:pt idx="1433">
                  <c:v>45624</c:v>
                </c:pt>
                <c:pt idx="1434">
                  <c:v>45625</c:v>
                </c:pt>
              </c:numCache>
            </c:numRef>
          </c:cat>
          <c:val>
            <c:numRef>
              <c:f>Sheet1!$F$18:$BCJ$18</c:f>
              <c:numCache>
                <c:formatCode>_(* #\ ##0_);_(* \(#\ ##0\);_(* "-"??_);_(@_)</c:formatCode>
                <c:ptCount val="1435"/>
                <c:pt idx="0">
                  <c:v>3316.3585120000002</c:v>
                </c:pt>
                <c:pt idx="1">
                  <c:v>3271.1935616000001</c:v>
                </c:pt>
                <c:pt idx="2">
                  <c:v>3157.1088783999999</c:v>
                </c:pt>
                <c:pt idx="3">
                  <c:v>3146.5607072000003</c:v>
                </c:pt>
                <c:pt idx="4">
                  <c:v>3117.9532992000004</c:v>
                </c:pt>
                <c:pt idx="5">
                  <c:v>3098.3482768000003</c:v>
                </c:pt>
                <c:pt idx="6">
                  <c:v>3139.7551008</c:v>
                </c:pt>
                <c:pt idx="7">
                  <c:v>3190.8256784</c:v>
                </c:pt>
                <c:pt idx="8">
                  <c:v>3144.8748672000002</c:v>
                </c:pt>
                <c:pt idx="9">
                  <c:v>3192.6152624000001</c:v>
                </c:pt>
                <c:pt idx="10">
                  <c:v>3131.5956352000003</c:v>
                </c:pt>
                <c:pt idx="11">
                  <c:v>3162.9263231999998</c:v>
                </c:pt>
                <c:pt idx="12">
                  <c:v>3175.8087344</c:v>
                </c:pt>
                <c:pt idx="13">
                  <c:v>3293.4829599999998</c:v>
                </c:pt>
                <c:pt idx="14">
                  <c:v>3212.9516800000001</c:v>
                </c:pt>
                <c:pt idx="15">
                  <c:v>3365.5435424000002</c:v>
                </c:pt>
                <c:pt idx="16">
                  <c:v>3377.9046399999997</c:v>
                </c:pt>
                <c:pt idx="17">
                  <c:v>3445.7817456000002</c:v>
                </c:pt>
                <c:pt idx="18">
                  <c:v>3453.6066368000002</c:v>
                </c:pt>
                <c:pt idx="19">
                  <c:v>3448.4713088000003</c:v>
                </c:pt>
                <c:pt idx="20">
                  <c:v>3425.6294736</c:v>
                </c:pt>
                <c:pt idx="21">
                  <c:v>3433.7033504000005</c:v>
                </c:pt>
                <c:pt idx="22">
                  <c:v>3461.5326783999999</c:v>
                </c:pt>
                <c:pt idx="23">
                  <c:v>3502.0265552000001</c:v>
                </c:pt>
                <c:pt idx="24">
                  <c:v>3520.4229599999999</c:v>
                </c:pt>
                <c:pt idx="25">
                  <c:v>3519.4114559999998</c:v>
                </c:pt>
                <c:pt idx="26">
                  <c:v>3523.172176</c:v>
                </c:pt>
                <c:pt idx="27">
                  <c:v>3480.1365712000002</c:v>
                </c:pt>
                <c:pt idx="28">
                  <c:v>3431.9786064000004</c:v>
                </c:pt>
                <c:pt idx="29">
                  <c:v>3404.9247648000005</c:v>
                </c:pt>
                <c:pt idx="30">
                  <c:v>3449.8225744000001</c:v>
                </c:pt>
                <c:pt idx="31">
                  <c:v>3493.9578656000003</c:v>
                </c:pt>
                <c:pt idx="32">
                  <c:v>3566.6071951999998</c:v>
                </c:pt>
                <c:pt idx="33">
                  <c:v>3537.3228576000001</c:v>
                </c:pt>
                <c:pt idx="34">
                  <c:v>3553.634008</c:v>
                </c:pt>
                <c:pt idx="35">
                  <c:v>3539.7634352000005</c:v>
                </c:pt>
                <c:pt idx="36">
                  <c:v>3488.7810399999998</c:v>
                </c:pt>
                <c:pt idx="37">
                  <c:v>3487.7358192000002</c:v>
                </c:pt>
                <c:pt idx="38">
                  <c:v>3500.1358208000001</c:v>
                </c:pt>
                <c:pt idx="39">
                  <c:v>3450.9066992000003</c:v>
                </c:pt>
                <c:pt idx="40">
                  <c:v>3443.4656608000005</c:v>
                </c:pt>
                <c:pt idx="41">
                  <c:v>3451.0130368</c:v>
                </c:pt>
                <c:pt idx="42">
                  <c:v>3420.0117359999999</c:v>
                </c:pt>
                <c:pt idx="43">
                  <c:v>3405.0518511999999</c:v>
                </c:pt>
                <c:pt idx="44">
                  <c:v>3373.715976</c:v>
                </c:pt>
                <c:pt idx="45">
                  <c:v>3416.5907775999999</c:v>
                </c:pt>
                <c:pt idx="46">
                  <c:v>3403.4593808</c:v>
                </c:pt>
                <c:pt idx="47">
                  <c:v>3405.0881616000001</c:v>
                </c:pt>
                <c:pt idx="48">
                  <c:v>3395.2636048000004</c:v>
                </c:pt>
                <c:pt idx="49">
                  <c:v>3448.1082048000003</c:v>
                </c:pt>
                <c:pt idx="50">
                  <c:v>3468.8699728000001</c:v>
                </c:pt>
                <c:pt idx="51">
                  <c:v>3504.1221840000003</c:v>
                </c:pt>
                <c:pt idx="52">
                  <c:v>3508.4898064000004</c:v>
                </c:pt>
                <c:pt idx="53">
                  <c:v>3484.6572160000005</c:v>
                </c:pt>
                <c:pt idx="54">
                  <c:v>3488.9937152000002</c:v>
                </c:pt>
                <c:pt idx="55">
                  <c:v>3491.0400656000002</c:v>
                </c:pt>
                <c:pt idx="56">
                  <c:v>3525.5712560000002</c:v>
                </c:pt>
                <c:pt idx="57">
                  <c:v>3552.5446960000004</c:v>
                </c:pt>
                <c:pt idx="58">
                  <c:v>3499.2099056000002</c:v>
                </c:pt>
                <c:pt idx="59">
                  <c:v>3531.4431664000003</c:v>
                </c:pt>
                <c:pt idx="60">
                  <c:v>3537.54072</c:v>
                </c:pt>
                <c:pt idx="61">
                  <c:v>3529.2671359999999</c:v>
                </c:pt>
                <c:pt idx="62">
                  <c:v>3516.7815456000003</c:v>
                </c:pt>
                <c:pt idx="63">
                  <c:v>3477.2291456000003</c:v>
                </c:pt>
                <c:pt idx="64">
                  <c:v>3554.1994128000001</c:v>
                </c:pt>
                <c:pt idx="65">
                  <c:v>3584.22552</c:v>
                </c:pt>
                <c:pt idx="66">
                  <c:v>3552.6406592000003</c:v>
                </c:pt>
                <c:pt idx="67">
                  <c:v>3595.8111312000001</c:v>
                </c:pt>
                <c:pt idx="68">
                  <c:v>3589.2311680000003</c:v>
                </c:pt>
                <c:pt idx="69">
                  <c:v>3632.8684880000001</c:v>
                </c:pt>
                <c:pt idx="70">
                  <c:v>3467.8947792000004</c:v>
                </c:pt>
                <c:pt idx="71">
                  <c:v>3661.8779040000004</c:v>
                </c:pt>
                <c:pt idx="72">
                  <c:v>3705.3388592000001</c:v>
                </c:pt>
                <c:pt idx="73">
                  <c:v>3769.4682128000004</c:v>
                </c:pt>
                <c:pt idx="74">
                  <c:v>3662.2695376000001</c:v>
                </c:pt>
                <c:pt idx="75">
                  <c:v>3645.7327439999999</c:v>
                </c:pt>
                <c:pt idx="76">
                  <c:v>3639.8634272000004</c:v>
                </c:pt>
                <c:pt idx="77">
                  <c:v>3682.1027968000003</c:v>
                </c:pt>
                <c:pt idx="78">
                  <c:v>3645.1258416000001</c:v>
                </c:pt>
                <c:pt idx="79">
                  <c:v>3627.1962848000003</c:v>
                </c:pt>
                <c:pt idx="80">
                  <c:v>3681.4829264</c:v>
                </c:pt>
                <c:pt idx="81">
                  <c:v>3651.8899504000001</c:v>
                </c:pt>
                <c:pt idx="82">
                  <c:v>3561.3759040000004</c:v>
                </c:pt>
                <c:pt idx="83">
                  <c:v>3569.6468944000003</c:v>
                </c:pt>
                <c:pt idx="84">
                  <c:v>3556.6244288000003</c:v>
                </c:pt>
                <c:pt idx="85">
                  <c:v>3529.1919216000001</c:v>
                </c:pt>
                <c:pt idx="86">
                  <c:v>3525.6386896000004</c:v>
                </c:pt>
                <c:pt idx="87">
                  <c:v>3464.2767072000001</c:v>
                </c:pt>
                <c:pt idx="88">
                  <c:v>3497.6641199999999</c:v>
                </c:pt>
                <c:pt idx="89">
                  <c:v>3565.0977200000002</c:v>
                </c:pt>
                <c:pt idx="90">
                  <c:v>3541.6152656000004</c:v>
                </c:pt>
                <c:pt idx="91">
                  <c:v>3515.6585168000001</c:v>
                </c:pt>
                <c:pt idx="92">
                  <c:v>3525.0240064000004</c:v>
                </c:pt>
                <c:pt idx="93">
                  <c:v>3562.1877008000001</c:v>
                </c:pt>
                <c:pt idx="94">
                  <c:v>3614.3916816000001</c:v>
                </c:pt>
                <c:pt idx="95">
                  <c:v>3660.1427856</c:v>
                </c:pt>
                <c:pt idx="96">
                  <c:v>3655.2720048000001</c:v>
                </c:pt>
                <c:pt idx="97">
                  <c:v>3670.1877984000002</c:v>
                </c:pt>
                <c:pt idx="98">
                  <c:v>3644.7471759999999</c:v>
                </c:pt>
                <c:pt idx="99">
                  <c:v>3647.5171408000001</c:v>
                </c:pt>
                <c:pt idx="100">
                  <c:v>3643.9068496</c:v>
                </c:pt>
                <c:pt idx="101">
                  <c:v>3651.9936944000001</c:v>
                </c:pt>
                <c:pt idx="102">
                  <c:v>3659.9352976</c:v>
                </c:pt>
                <c:pt idx="103">
                  <c:v>3629.9040032000003</c:v>
                </c:pt>
                <c:pt idx="104">
                  <c:v>3617.9397264000004</c:v>
                </c:pt>
                <c:pt idx="105">
                  <c:v>3557.3065455999999</c:v>
                </c:pt>
                <c:pt idx="106">
                  <c:v>8360.3509240000003</c:v>
                </c:pt>
                <c:pt idx="107">
                  <c:v>8360.4287320000003</c:v>
                </c:pt>
                <c:pt idx="108">
                  <c:v>8386.2143032000004</c:v>
                </c:pt>
                <c:pt idx="109">
                  <c:v>8531.6426424000001</c:v>
                </c:pt>
                <c:pt idx="110">
                  <c:v>8572.9509096000002</c:v>
                </c:pt>
                <c:pt idx="111">
                  <c:v>8646.8347928000003</c:v>
                </c:pt>
                <c:pt idx="112">
                  <c:v>8584.4976167999994</c:v>
                </c:pt>
                <c:pt idx="113">
                  <c:v>8550.7782232000009</c:v>
                </c:pt>
                <c:pt idx="114">
                  <c:v>8632.7307959999998</c:v>
                </c:pt>
                <c:pt idx="115">
                  <c:v>8623.7854695999995</c:v>
                </c:pt>
                <c:pt idx="116">
                  <c:v>8640.4519432000016</c:v>
                </c:pt>
                <c:pt idx="117">
                  <c:v>8655.0435367999999</c:v>
                </c:pt>
                <c:pt idx="118">
                  <c:v>8634.4218232000003</c:v>
                </c:pt>
                <c:pt idx="119">
                  <c:v>8621.5549735999994</c:v>
                </c:pt>
                <c:pt idx="120">
                  <c:v>8619.6590520000009</c:v>
                </c:pt>
                <c:pt idx="121">
                  <c:v>8602.5386983999997</c:v>
                </c:pt>
                <c:pt idx="122">
                  <c:v>8590.6055448000006</c:v>
                </c:pt>
                <c:pt idx="123">
                  <c:v>8601.6231576000009</c:v>
                </c:pt>
                <c:pt idx="124">
                  <c:v>8611.2220711999998</c:v>
                </c:pt>
                <c:pt idx="125">
                  <c:v>8526.8548568000006</c:v>
                </c:pt>
                <c:pt idx="126">
                  <c:v>8465.9285992000005</c:v>
                </c:pt>
                <c:pt idx="127">
                  <c:v>8481.044100000001</c:v>
                </c:pt>
                <c:pt idx="128">
                  <c:v>8477.8643464000015</c:v>
                </c:pt>
                <c:pt idx="129">
                  <c:v>8510.1027944000016</c:v>
                </c:pt>
                <c:pt idx="130">
                  <c:v>8783.8465991999983</c:v>
                </c:pt>
                <c:pt idx="131">
                  <c:v>8754.5000151999993</c:v>
                </c:pt>
                <c:pt idx="132">
                  <c:v>8782.949213599999</c:v>
                </c:pt>
                <c:pt idx="133">
                  <c:v>8621.6739783999983</c:v>
                </c:pt>
                <c:pt idx="134">
                  <c:v>8475.6231751999985</c:v>
                </c:pt>
                <c:pt idx="135">
                  <c:v>8538.5532039999998</c:v>
                </c:pt>
                <c:pt idx="136">
                  <c:v>8585.5725784000006</c:v>
                </c:pt>
                <c:pt idx="137">
                  <c:v>8477.0314048</c:v>
                </c:pt>
                <c:pt idx="138">
                  <c:v>8633.7214104000013</c:v>
                </c:pt>
                <c:pt idx="139">
                  <c:v>8665.1723903999991</c:v>
                </c:pt>
                <c:pt idx="140">
                  <c:v>8695.0256024000009</c:v>
                </c:pt>
                <c:pt idx="141">
                  <c:v>8721.3065511999994</c:v>
                </c:pt>
                <c:pt idx="142">
                  <c:v>8787.3681367999998</c:v>
                </c:pt>
                <c:pt idx="143">
                  <c:v>8802.1464696000003</c:v>
                </c:pt>
                <c:pt idx="144">
                  <c:v>8900.7914520000013</c:v>
                </c:pt>
                <c:pt idx="145">
                  <c:v>8958.576860000001</c:v>
                </c:pt>
                <c:pt idx="146">
                  <c:v>9030.2847127999994</c:v>
                </c:pt>
                <c:pt idx="147">
                  <c:v>9447.9081920000008</c:v>
                </c:pt>
                <c:pt idx="148">
                  <c:v>9465.5394847999996</c:v>
                </c:pt>
                <c:pt idx="149">
                  <c:v>9460.9903104000005</c:v>
                </c:pt>
                <c:pt idx="150">
                  <c:v>9437.5675088000007</c:v>
                </c:pt>
                <c:pt idx="151">
                  <c:v>9456.8976096000006</c:v>
                </c:pt>
                <c:pt idx="152">
                  <c:v>9451.7545007999997</c:v>
                </c:pt>
                <c:pt idx="153">
                  <c:v>9541.9728768000004</c:v>
                </c:pt>
                <c:pt idx="154">
                  <c:v>9619.0831983999997</c:v>
                </c:pt>
                <c:pt idx="155">
                  <c:v>9614.3317232000009</c:v>
                </c:pt>
                <c:pt idx="156">
                  <c:v>9609.8110784</c:v>
                </c:pt>
                <c:pt idx="157">
                  <c:v>9589.0363424000006</c:v>
                </c:pt>
                <c:pt idx="158">
                  <c:v>9601.4006544000003</c:v>
                </c:pt>
                <c:pt idx="159">
                  <c:v>9613.8551215999996</c:v>
                </c:pt>
                <c:pt idx="160">
                  <c:v>9614.8666255999997</c:v>
                </c:pt>
                <c:pt idx="161">
                  <c:v>9635.5402112000011</c:v>
                </c:pt>
                <c:pt idx="162">
                  <c:v>9659.0563824000001</c:v>
                </c:pt>
                <c:pt idx="163">
                  <c:v>9669.1584543999998</c:v>
                </c:pt>
                <c:pt idx="164">
                  <c:v>9691.1164927999998</c:v>
                </c:pt>
                <c:pt idx="165">
                  <c:v>9703.9600000000009</c:v>
                </c:pt>
                <c:pt idx="166">
                  <c:v>9698.7676128000003</c:v>
                </c:pt>
                <c:pt idx="167">
                  <c:v>9691.3447295999995</c:v>
                </c:pt>
                <c:pt idx="168">
                  <c:v>9713.7793696000008</c:v>
                </c:pt>
                <c:pt idx="169">
                  <c:v>9704.3049487999997</c:v>
                </c:pt>
                <c:pt idx="170">
                  <c:v>9668.7311312000002</c:v>
                </c:pt>
                <c:pt idx="171">
                  <c:v>9691.9931295999995</c:v>
                </c:pt>
                <c:pt idx="172">
                  <c:v>9659.1697848000003</c:v>
                </c:pt>
                <c:pt idx="173">
                  <c:v>9635.6977048000008</c:v>
                </c:pt>
                <c:pt idx="174">
                  <c:v>9685.5770088000008</c:v>
                </c:pt>
                <c:pt idx="175">
                  <c:v>9808.3300287999991</c:v>
                </c:pt>
                <c:pt idx="176">
                  <c:v>9976.9826088000009</c:v>
                </c:pt>
                <c:pt idx="177">
                  <c:v>9949.8561464000013</c:v>
                </c:pt>
                <c:pt idx="178">
                  <c:v>9945.1383880000012</c:v>
                </c:pt>
                <c:pt idx="179">
                  <c:v>9965.7692191999995</c:v>
                </c:pt>
                <c:pt idx="180">
                  <c:v>10010.495851200001</c:v>
                </c:pt>
                <c:pt idx="181">
                  <c:v>9941.8614144000003</c:v>
                </c:pt>
                <c:pt idx="182">
                  <c:v>10024.117964000001</c:v>
                </c:pt>
                <c:pt idx="183">
                  <c:v>10057.634516</c:v>
                </c:pt>
                <c:pt idx="184">
                  <c:v>10070.7399768</c:v>
                </c:pt>
                <c:pt idx="185">
                  <c:v>10117.4507128</c:v>
                </c:pt>
                <c:pt idx="186">
                  <c:v>10086.462379999999</c:v>
                </c:pt>
                <c:pt idx="187">
                  <c:v>10087.8473624</c:v>
                </c:pt>
                <c:pt idx="188">
                  <c:v>10112.709611999999</c:v>
                </c:pt>
                <c:pt idx="189">
                  <c:v>10131.9489368</c:v>
                </c:pt>
                <c:pt idx="190">
                  <c:v>10576.2716504</c:v>
                </c:pt>
                <c:pt idx="191">
                  <c:v>10475.863480800001</c:v>
                </c:pt>
                <c:pt idx="192">
                  <c:v>10464.1526608</c:v>
                </c:pt>
                <c:pt idx="193">
                  <c:v>10469.741868800002</c:v>
                </c:pt>
                <c:pt idx="194">
                  <c:v>10453.547430400002</c:v>
                </c:pt>
                <c:pt idx="195">
                  <c:v>10465.4081384</c:v>
                </c:pt>
                <c:pt idx="196">
                  <c:v>10539.564700000001</c:v>
                </c:pt>
                <c:pt idx="197">
                  <c:v>10441.2292624</c:v>
                </c:pt>
                <c:pt idx="198">
                  <c:v>10462.3152304</c:v>
                </c:pt>
                <c:pt idx="199">
                  <c:v>10481.3086088</c:v>
                </c:pt>
                <c:pt idx="200">
                  <c:v>10481.3086088</c:v>
                </c:pt>
                <c:pt idx="201">
                  <c:v>10571.2533048</c:v>
                </c:pt>
                <c:pt idx="202">
                  <c:v>10562.240544800001</c:v>
                </c:pt>
                <c:pt idx="203">
                  <c:v>10328.214464000001</c:v>
                </c:pt>
                <c:pt idx="204">
                  <c:v>10356.8452144</c:v>
                </c:pt>
                <c:pt idx="205">
                  <c:v>10249.874075199999</c:v>
                </c:pt>
                <c:pt idx="206">
                  <c:v>10210.083064</c:v>
                </c:pt>
                <c:pt idx="207">
                  <c:v>10024.8150864</c:v>
                </c:pt>
                <c:pt idx="208">
                  <c:v>10086.8005992</c:v>
                </c:pt>
                <c:pt idx="209">
                  <c:v>10060.413312799999</c:v>
                </c:pt>
                <c:pt idx="210">
                  <c:v>10022.7386792</c:v>
                </c:pt>
                <c:pt idx="211">
                  <c:v>13823.389470420001</c:v>
                </c:pt>
                <c:pt idx="212">
                  <c:v>13775.557508060001</c:v>
                </c:pt>
                <c:pt idx="213">
                  <c:v>14021.082749840001</c:v>
                </c:pt>
                <c:pt idx="214">
                  <c:v>14014.97579366</c:v>
                </c:pt>
                <c:pt idx="215">
                  <c:v>14008.108705840001</c:v>
                </c:pt>
                <c:pt idx="216">
                  <c:v>14054.746426500002</c:v>
                </c:pt>
                <c:pt idx="217">
                  <c:v>14000.83895302</c:v>
                </c:pt>
                <c:pt idx="218">
                  <c:v>14008.796256539999</c:v>
                </c:pt>
                <c:pt idx="219">
                  <c:v>14269.630496239999</c:v>
                </c:pt>
                <c:pt idx="220">
                  <c:v>14302.4539408</c:v>
                </c:pt>
                <c:pt idx="221">
                  <c:v>14267.424168699999</c:v>
                </c:pt>
                <c:pt idx="222">
                  <c:v>14317.637093239999</c:v>
                </c:pt>
                <c:pt idx="223">
                  <c:v>14251.63162824</c:v>
                </c:pt>
                <c:pt idx="224">
                  <c:v>14267.687096199999</c:v>
                </c:pt>
                <c:pt idx="225">
                  <c:v>14571.139368400001</c:v>
                </c:pt>
                <c:pt idx="226">
                  <c:v>14658.210656739999</c:v>
                </c:pt>
                <c:pt idx="227">
                  <c:v>14671.39679776</c:v>
                </c:pt>
                <c:pt idx="228">
                  <c:v>14681.779952460001</c:v>
                </c:pt>
                <c:pt idx="229">
                  <c:v>14699.23354732</c:v>
                </c:pt>
                <c:pt idx="230">
                  <c:v>14858.1010281</c:v>
                </c:pt>
                <c:pt idx="231">
                  <c:v>14549.801113140002</c:v>
                </c:pt>
                <c:pt idx="232">
                  <c:v>14585.776361460001</c:v>
                </c:pt>
                <c:pt idx="233">
                  <c:v>14437.197549780001</c:v>
                </c:pt>
                <c:pt idx="234">
                  <c:v>14231.830295100001</c:v>
                </c:pt>
                <c:pt idx="235">
                  <c:v>14201.982895040001</c:v>
                </c:pt>
                <c:pt idx="236">
                  <c:v>14237.4869014</c:v>
                </c:pt>
                <c:pt idx="237">
                  <c:v>14410.438813000001</c:v>
                </c:pt>
                <c:pt idx="238">
                  <c:v>14399.814455579999</c:v>
                </c:pt>
                <c:pt idx="239">
                  <c:v>14371.02254066</c:v>
                </c:pt>
                <c:pt idx="240">
                  <c:v>14151.87300062</c:v>
                </c:pt>
                <c:pt idx="241">
                  <c:v>14119.287186040001</c:v>
                </c:pt>
                <c:pt idx="242">
                  <c:v>14253.85877398</c:v>
                </c:pt>
                <c:pt idx="243">
                  <c:v>14250.261162139999</c:v>
                </c:pt>
                <c:pt idx="244">
                  <c:v>14242.628951120001</c:v>
                </c:pt>
                <c:pt idx="245">
                  <c:v>15208.05378274</c:v>
                </c:pt>
                <c:pt idx="246">
                  <c:v>14597.090199800001</c:v>
                </c:pt>
                <c:pt idx="247">
                  <c:v>14641.52364702</c:v>
                </c:pt>
                <c:pt idx="248">
                  <c:v>14573.4657432</c:v>
                </c:pt>
                <c:pt idx="249">
                  <c:v>14584.989826479999</c:v>
                </c:pt>
                <c:pt idx="250">
                  <c:v>14555.126324919998</c:v>
                </c:pt>
                <c:pt idx="251">
                  <c:v>14596.22462632</c:v>
                </c:pt>
                <c:pt idx="252">
                  <c:v>14623.10988392</c:v>
                </c:pt>
                <c:pt idx="253">
                  <c:v>14468.409538779999</c:v>
                </c:pt>
                <c:pt idx="254">
                  <c:v>14532.087896699999</c:v>
                </c:pt>
                <c:pt idx="255">
                  <c:v>14412.41636818</c:v>
                </c:pt>
                <c:pt idx="256">
                  <c:v>14394.031765220001</c:v>
                </c:pt>
                <c:pt idx="257">
                  <c:v>14417.012400600001</c:v>
                </c:pt>
                <c:pt idx="258">
                  <c:v>14491.007320639999</c:v>
                </c:pt>
                <c:pt idx="259">
                  <c:v>14477.81302956</c:v>
                </c:pt>
                <c:pt idx="260">
                  <c:v>14485.88987556</c:v>
                </c:pt>
                <c:pt idx="261">
                  <c:v>14733.917671019999</c:v>
                </c:pt>
                <c:pt idx="262">
                  <c:v>14931.676670839999</c:v>
                </c:pt>
                <c:pt idx="263">
                  <c:v>15184.807958900001</c:v>
                </c:pt>
                <c:pt idx="264">
                  <c:v>15237.347584259998</c:v>
                </c:pt>
                <c:pt idx="265">
                  <c:v>14949.166743279999</c:v>
                </c:pt>
                <c:pt idx="266">
                  <c:v>14936.818682199999</c:v>
                </c:pt>
                <c:pt idx="267">
                  <c:v>15224.65301914</c:v>
                </c:pt>
                <c:pt idx="268">
                  <c:v>15164.188490859999</c:v>
                </c:pt>
                <c:pt idx="269">
                  <c:v>15361.693371519999</c:v>
                </c:pt>
                <c:pt idx="270">
                  <c:v>15426.231493400002</c:v>
                </c:pt>
                <c:pt idx="271">
                  <c:v>15441.359746239999</c:v>
                </c:pt>
                <c:pt idx="272">
                  <c:v>15337.939728200001</c:v>
                </c:pt>
                <c:pt idx="273">
                  <c:v>15320.670422220002</c:v>
                </c:pt>
                <c:pt idx="274">
                  <c:v>15570.89034958</c:v>
                </c:pt>
                <c:pt idx="275">
                  <c:v>15508.252673139999</c:v>
                </c:pt>
                <c:pt idx="276">
                  <c:v>15096.03391068</c:v>
                </c:pt>
                <c:pt idx="277">
                  <c:v>15067.740185000001</c:v>
                </c:pt>
                <c:pt idx="278">
                  <c:v>15195.619146680001</c:v>
                </c:pt>
                <c:pt idx="279">
                  <c:v>15209.478767799999</c:v>
                </c:pt>
                <c:pt idx="280">
                  <c:v>15386.967809039999</c:v>
                </c:pt>
                <c:pt idx="281">
                  <c:v>15490.181034539999</c:v>
                </c:pt>
                <c:pt idx="282">
                  <c:v>15341.497022200001</c:v>
                </c:pt>
                <c:pt idx="283">
                  <c:v>15466.605253</c:v>
                </c:pt>
                <c:pt idx="284">
                  <c:v>15324.401178940001</c:v>
                </c:pt>
                <c:pt idx="285">
                  <c:v>15388.11487336</c:v>
                </c:pt>
                <c:pt idx="286">
                  <c:v>15428.314755560001</c:v>
                </c:pt>
                <c:pt idx="287">
                  <c:v>15436.410500420003</c:v>
                </c:pt>
                <c:pt idx="288">
                  <c:v>15436.434960000002</c:v>
                </c:pt>
                <c:pt idx="289">
                  <c:v>15464.9297281</c:v>
                </c:pt>
                <c:pt idx="290">
                  <c:v>15446.41923188</c:v>
                </c:pt>
                <c:pt idx="291">
                  <c:v>15759.48778876</c:v>
                </c:pt>
                <c:pt idx="292">
                  <c:v>15729.13603836</c:v>
                </c:pt>
                <c:pt idx="293">
                  <c:v>15779.854789659999</c:v>
                </c:pt>
                <c:pt idx="294">
                  <c:v>16305.65416486</c:v>
                </c:pt>
                <c:pt idx="295">
                  <c:v>16495.08367584</c:v>
                </c:pt>
                <c:pt idx="296">
                  <c:v>16429.03333056</c:v>
                </c:pt>
                <c:pt idx="297">
                  <c:v>16312.969929880001</c:v>
                </c:pt>
                <c:pt idx="298">
                  <c:v>16202.429867260002</c:v>
                </c:pt>
                <c:pt idx="299">
                  <c:v>16158.049440360002</c:v>
                </c:pt>
                <c:pt idx="300">
                  <c:v>16110.26236036</c:v>
                </c:pt>
                <c:pt idx="301">
                  <c:v>16098.648034740001</c:v>
                </c:pt>
                <c:pt idx="302">
                  <c:v>15885.254885040002</c:v>
                </c:pt>
                <c:pt idx="303">
                  <c:v>15472.93387176</c:v>
                </c:pt>
                <c:pt idx="304">
                  <c:v>15453.832238499999</c:v>
                </c:pt>
                <c:pt idx="305">
                  <c:v>15366.474071659999</c:v>
                </c:pt>
                <c:pt idx="306">
                  <c:v>14501.05794542</c:v>
                </c:pt>
                <c:pt idx="307">
                  <c:v>15395.342404920002</c:v>
                </c:pt>
                <c:pt idx="308">
                  <c:v>15338.514716420003</c:v>
                </c:pt>
                <c:pt idx="309">
                  <c:v>14468.77065366</c:v>
                </c:pt>
                <c:pt idx="310">
                  <c:v>14006.507658459999</c:v>
                </c:pt>
                <c:pt idx="311">
                  <c:v>13099.091461580001</c:v>
                </c:pt>
                <c:pt idx="312">
                  <c:v>13138.310547640001</c:v>
                </c:pt>
                <c:pt idx="313">
                  <c:v>13039.58727546</c:v>
                </c:pt>
                <c:pt idx="314">
                  <c:v>12813.856297940001</c:v>
                </c:pt>
                <c:pt idx="315">
                  <c:v>13018.209021819999</c:v>
                </c:pt>
                <c:pt idx="316">
                  <c:v>12072.333380300002</c:v>
                </c:pt>
                <c:pt idx="317">
                  <c:v>13623.17799186</c:v>
                </c:pt>
                <c:pt idx="318">
                  <c:v>13843.059301540001</c:v>
                </c:pt>
                <c:pt idx="319">
                  <c:v>13691.96527554</c:v>
                </c:pt>
                <c:pt idx="320">
                  <c:v>13667.59042862</c:v>
                </c:pt>
                <c:pt idx="321">
                  <c:v>13513.32904986</c:v>
                </c:pt>
                <c:pt idx="322">
                  <c:v>13643.917958060001</c:v>
                </c:pt>
                <c:pt idx="323">
                  <c:v>13770.223763380001</c:v>
                </c:pt>
                <c:pt idx="324">
                  <c:v>13921.69115592</c:v>
                </c:pt>
                <c:pt idx="325">
                  <c:v>14503.311261380002</c:v>
                </c:pt>
                <c:pt idx="326">
                  <c:v>14535.128402020002</c:v>
                </c:pt>
                <c:pt idx="327">
                  <c:v>14666.539427580003</c:v>
                </c:pt>
                <c:pt idx="328">
                  <c:v>14679.319099820001</c:v>
                </c:pt>
                <c:pt idx="329">
                  <c:v>14628.446528720002</c:v>
                </c:pt>
                <c:pt idx="330">
                  <c:v>14558.537537880004</c:v>
                </c:pt>
                <c:pt idx="331">
                  <c:v>15131.13742314</c:v>
                </c:pt>
                <c:pt idx="332">
                  <c:v>15152.354422639997</c:v>
                </c:pt>
                <c:pt idx="333">
                  <c:v>15184.65957946</c:v>
                </c:pt>
                <c:pt idx="334">
                  <c:v>14964.217566939999</c:v>
                </c:pt>
                <c:pt idx="335">
                  <c:v>14956.511883759998</c:v>
                </c:pt>
                <c:pt idx="336">
                  <c:v>15135.77593408</c:v>
                </c:pt>
                <c:pt idx="337">
                  <c:v>15878.82369356</c:v>
                </c:pt>
                <c:pt idx="338">
                  <c:v>15860.61269482</c:v>
                </c:pt>
                <c:pt idx="339">
                  <c:v>15990.039275679999</c:v>
                </c:pt>
                <c:pt idx="340">
                  <c:v>15902.840180380001</c:v>
                </c:pt>
                <c:pt idx="341">
                  <c:v>15708.371339300002</c:v>
                </c:pt>
                <c:pt idx="342">
                  <c:v>15668.409098260001</c:v>
                </c:pt>
                <c:pt idx="343">
                  <c:v>16072.392861939999</c:v>
                </c:pt>
                <c:pt idx="344">
                  <c:v>16079.81174988</c:v>
                </c:pt>
                <c:pt idx="345">
                  <c:v>16097.6885501</c:v>
                </c:pt>
                <c:pt idx="346">
                  <c:v>16071.00559122</c:v>
                </c:pt>
                <c:pt idx="347">
                  <c:v>15962.671077000001</c:v>
                </c:pt>
                <c:pt idx="348">
                  <c:v>15635.951026539999</c:v>
                </c:pt>
                <c:pt idx="349">
                  <c:v>15890.721575180001</c:v>
                </c:pt>
                <c:pt idx="350">
                  <c:v>16049.418236520001</c:v>
                </c:pt>
                <c:pt idx="351">
                  <c:v>15931.280065899999</c:v>
                </c:pt>
                <c:pt idx="352">
                  <c:v>16122.576397659999</c:v>
                </c:pt>
                <c:pt idx="353">
                  <c:v>16046.230789359999</c:v>
                </c:pt>
                <c:pt idx="354">
                  <c:v>15849.720671700001</c:v>
                </c:pt>
                <c:pt idx="355">
                  <c:v>15951.381869700001</c:v>
                </c:pt>
                <c:pt idx="356">
                  <c:v>15940.848107620001</c:v>
                </c:pt>
                <c:pt idx="357">
                  <c:v>15939.060936559999</c:v>
                </c:pt>
                <c:pt idx="358">
                  <c:v>16202.827236720001</c:v>
                </c:pt>
                <c:pt idx="359">
                  <c:v>16549.353709760002</c:v>
                </c:pt>
                <c:pt idx="360">
                  <c:v>16545.62419604</c:v>
                </c:pt>
                <c:pt idx="361">
                  <c:v>16442.475573639997</c:v>
                </c:pt>
                <c:pt idx="362">
                  <c:v>16434.415852620001</c:v>
                </c:pt>
                <c:pt idx="363">
                  <c:v>16648.674878440001</c:v>
                </c:pt>
                <c:pt idx="364">
                  <c:v>16647.993054440001</c:v>
                </c:pt>
                <c:pt idx="365">
                  <c:v>16575.0787021</c:v>
                </c:pt>
                <c:pt idx="366">
                  <c:v>16537.285086839998</c:v>
                </c:pt>
                <c:pt idx="367">
                  <c:v>15851.89067504</c:v>
                </c:pt>
                <c:pt idx="368">
                  <c:v>15778.8108722</c:v>
                </c:pt>
                <c:pt idx="369">
                  <c:v>15695.127888500001</c:v>
                </c:pt>
                <c:pt idx="370">
                  <c:v>15759.036682279999</c:v>
                </c:pt>
                <c:pt idx="371">
                  <c:v>15445.63542196</c:v>
                </c:pt>
                <c:pt idx="372">
                  <c:v>15621.627403979999</c:v>
                </c:pt>
                <c:pt idx="373">
                  <c:v>15674.28733304</c:v>
                </c:pt>
                <c:pt idx="374">
                  <c:v>16066.712389380002</c:v>
                </c:pt>
                <c:pt idx="375">
                  <c:v>16343.485122160002</c:v>
                </c:pt>
                <c:pt idx="376">
                  <c:v>16326.24077828</c:v>
                </c:pt>
                <c:pt idx="377">
                  <c:v>16417.2745622</c:v>
                </c:pt>
                <c:pt idx="378">
                  <c:v>16464.278206820003</c:v>
                </c:pt>
                <c:pt idx="379">
                  <c:v>16435.164357400001</c:v>
                </c:pt>
                <c:pt idx="380">
                  <c:v>16256.73803364</c:v>
                </c:pt>
                <c:pt idx="381">
                  <c:v>16289.251949380001</c:v>
                </c:pt>
                <c:pt idx="382">
                  <c:v>16380.576417780001</c:v>
                </c:pt>
                <c:pt idx="383">
                  <c:v>16465.749753620003</c:v>
                </c:pt>
                <c:pt idx="384">
                  <c:v>16460.554369959998</c:v>
                </c:pt>
                <c:pt idx="385">
                  <c:v>16461.083499660002</c:v>
                </c:pt>
                <c:pt idx="386">
                  <c:v>16446.00751336</c:v>
                </c:pt>
                <c:pt idx="387">
                  <c:v>16311.591535340001</c:v>
                </c:pt>
                <c:pt idx="388">
                  <c:v>16356.5030792</c:v>
                </c:pt>
                <c:pt idx="389">
                  <c:v>16369.76696556</c:v>
                </c:pt>
                <c:pt idx="390">
                  <c:v>16410.055385240001</c:v>
                </c:pt>
                <c:pt idx="391">
                  <c:v>16363.278719039998</c:v>
                </c:pt>
                <c:pt idx="392">
                  <c:v>16367.080178700002</c:v>
                </c:pt>
                <c:pt idx="393">
                  <c:v>16297.747928479999</c:v>
                </c:pt>
                <c:pt idx="394">
                  <c:v>16374.19124222</c:v>
                </c:pt>
                <c:pt idx="395">
                  <c:v>16540.966566499999</c:v>
                </c:pt>
                <c:pt idx="396">
                  <c:v>17666.236140000001</c:v>
                </c:pt>
                <c:pt idx="397">
                  <c:v>17634.814781900001</c:v>
                </c:pt>
                <c:pt idx="398">
                  <c:v>18172.171777120002</c:v>
                </c:pt>
                <c:pt idx="399">
                  <c:v>18624.067190139998</c:v>
                </c:pt>
                <c:pt idx="400">
                  <c:v>18359.811312639999</c:v>
                </c:pt>
                <c:pt idx="401">
                  <c:v>18268.453474080001</c:v>
                </c:pt>
                <c:pt idx="402">
                  <c:v>18513.087980880002</c:v>
                </c:pt>
                <c:pt idx="403">
                  <c:v>18674.349329460001</c:v>
                </c:pt>
                <c:pt idx="404">
                  <c:v>18845.977604240001</c:v>
                </c:pt>
                <c:pt idx="405">
                  <c:v>18940.904175040003</c:v>
                </c:pt>
                <c:pt idx="406">
                  <c:v>18942.78158784</c:v>
                </c:pt>
                <c:pt idx="407">
                  <c:v>19370.686756940002</c:v>
                </c:pt>
                <c:pt idx="408">
                  <c:v>19147.583665620001</c:v>
                </c:pt>
                <c:pt idx="409">
                  <c:v>18768.817284899997</c:v>
                </c:pt>
                <c:pt idx="410">
                  <c:v>19060.435266640001</c:v>
                </c:pt>
                <c:pt idx="411">
                  <c:v>19031.381685260003</c:v>
                </c:pt>
                <c:pt idx="412">
                  <c:v>19051.91961674</c:v>
                </c:pt>
                <c:pt idx="413">
                  <c:v>18999.177919400001</c:v>
                </c:pt>
                <c:pt idx="414">
                  <c:v>19411.115010119996</c:v>
                </c:pt>
                <c:pt idx="415">
                  <c:v>19416.666553439998</c:v>
                </c:pt>
                <c:pt idx="416">
                  <c:v>19439.207932139998</c:v>
                </c:pt>
                <c:pt idx="417">
                  <c:v>19452.6908248</c:v>
                </c:pt>
                <c:pt idx="418">
                  <c:v>19438.391026419999</c:v>
                </c:pt>
                <c:pt idx="419">
                  <c:v>19399.455974679997</c:v>
                </c:pt>
                <c:pt idx="420">
                  <c:v>19507.871662879999</c:v>
                </c:pt>
                <c:pt idx="421">
                  <c:v>19355.254441520003</c:v>
                </c:pt>
                <c:pt idx="422">
                  <c:v>20226.683051799999</c:v>
                </c:pt>
                <c:pt idx="423">
                  <c:v>20180.695194379998</c:v>
                </c:pt>
                <c:pt idx="424">
                  <c:v>19654.182600240001</c:v>
                </c:pt>
                <c:pt idx="425">
                  <c:v>19611.337369880002</c:v>
                </c:pt>
                <c:pt idx="426">
                  <c:v>19475.961499739999</c:v>
                </c:pt>
                <c:pt idx="427">
                  <c:v>19472.28581374</c:v>
                </c:pt>
                <c:pt idx="428">
                  <c:v>19171.861595980001</c:v>
                </c:pt>
                <c:pt idx="429">
                  <c:v>19189.281755939999</c:v>
                </c:pt>
                <c:pt idx="430">
                  <c:v>19132.648816520003</c:v>
                </c:pt>
                <c:pt idx="431">
                  <c:v>19155.468532599996</c:v>
                </c:pt>
                <c:pt idx="432">
                  <c:v>17985.807080840001</c:v>
                </c:pt>
                <c:pt idx="433">
                  <c:v>17485.638091659999</c:v>
                </c:pt>
                <c:pt idx="434">
                  <c:v>17212.926476279998</c:v>
                </c:pt>
                <c:pt idx="435">
                  <c:v>17183.058904360001</c:v>
                </c:pt>
                <c:pt idx="436">
                  <c:v>17434.642407079999</c:v>
                </c:pt>
                <c:pt idx="437">
                  <c:v>17386.217671779999</c:v>
                </c:pt>
                <c:pt idx="438">
                  <c:v>17081.49430798</c:v>
                </c:pt>
                <c:pt idx="439">
                  <c:v>17271.974279040001</c:v>
                </c:pt>
                <c:pt idx="440">
                  <c:v>17460.227917119999</c:v>
                </c:pt>
                <c:pt idx="441">
                  <c:v>17075.911940460002</c:v>
                </c:pt>
                <c:pt idx="442">
                  <c:v>17070.374774560001</c:v>
                </c:pt>
                <c:pt idx="443">
                  <c:v>17086.026906520001</c:v>
                </c:pt>
                <c:pt idx="444">
                  <c:v>17022.622743420001</c:v>
                </c:pt>
                <c:pt idx="445">
                  <c:v>17012.881342499997</c:v>
                </c:pt>
                <c:pt idx="446">
                  <c:v>17264.71652976</c:v>
                </c:pt>
                <c:pt idx="447">
                  <c:v>17244.45696978</c:v>
                </c:pt>
                <c:pt idx="448">
                  <c:v>17242.594407619999</c:v>
                </c:pt>
                <c:pt idx="449">
                  <c:v>29019.043343459998</c:v>
                </c:pt>
                <c:pt idx="450">
                  <c:v>30013.372277919996</c:v>
                </c:pt>
                <c:pt idx="451">
                  <c:v>30300.23315674</c:v>
                </c:pt>
                <c:pt idx="452">
                  <c:v>30395.116269960003</c:v>
                </c:pt>
                <c:pt idx="453">
                  <c:v>30220.45024572</c:v>
                </c:pt>
                <c:pt idx="454">
                  <c:v>30513.193054322997</c:v>
                </c:pt>
                <c:pt idx="455">
                  <c:v>30394.796034106002</c:v>
                </c:pt>
                <c:pt idx="456">
                  <c:v>30182.391035401</c:v>
                </c:pt>
                <c:pt idx="457">
                  <c:v>30284.312528689999</c:v>
                </c:pt>
                <c:pt idx="458">
                  <c:v>30154.610843338003</c:v>
                </c:pt>
                <c:pt idx="459">
                  <c:v>29969.237305390998</c:v>
                </c:pt>
                <c:pt idx="460">
                  <c:v>30027.557459435004</c:v>
                </c:pt>
                <c:pt idx="461">
                  <c:v>29852.478918772998</c:v>
                </c:pt>
                <c:pt idx="462">
                  <c:v>29084.335166814002</c:v>
                </c:pt>
                <c:pt idx="463">
                  <c:v>29063.321959658002</c:v>
                </c:pt>
                <c:pt idx="464">
                  <c:v>28950.633420023001</c:v>
                </c:pt>
                <c:pt idx="465">
                  <c:v>28965.882944139001</c:v>
                </c:pt>
                <c:pt idx="466">
                  <c:v>30886.279377308001</c:v>
                </c:pt>
                <c:pt idx="467">
                  <c:v>29955.959366315998</c:v>
                </c:pt>
                <c:pt idx="468">
                  <c:v>30123.201440696001</c:v>
                </c:pt>
                <c:pt idx="469">
                  <c:v>30219.797622294001</c:v>
                </c:pt>
                <c:pt idx="470">
                  <c:v>29772.819357933</c:v>
                </c:pt>
                <c:pt idx="471">
                  <c:v>29659.924901170005</c:v>
                </c:pt>
                <c:pt idx="472">
                  <c:v>29787.079079405001</c:v>
                </c:pt>
                <c:pt idx="473">
                  <c:v>30197.411351652998</c:v>
                </c:pt>
                <c:pt idx="474">
                  <c:v>30253.033021609001</c:v>
                </c:pt>
                <c:pt idx="475">
                  <c:v>30199.690457044002</c:v>
                </c:pt>
                <c:pt idx="476">
                  <c:v>30409.803158130999</c:v>
                </c:pt>
                <c:pt idx="477">
                  <c:v>30505.493291025999</c:v>
                </c:pt>
                <c:pt idx="478">
                  <c:v>30043.420837033998</c:v>
                </c:pt>
                <c:pt idx="479">
                  <c:v>31613.785558504002</c:v>
                </c:pt>
                <c:pt idx="480">
                  <c:v>32650.846608681</c:v>
                </c:pt>
                <c:pt idx="481">
                  <c:v>33346.740307355001</c:v>
                </c:pt>
                <c:pt idx="482">
                  <c:v>33427.240607154999</c:v>
                </c:pt>
                <c:pt idx="483">
                  <c:v>34014.614862248003</c:v>
                </c:pt>
                <c:pt idx="484">
                  <c:v>34359.786117162999</c:v>
                </c:pt>
                <c:pt idx="485">
                  <c:v>34138.336305453005</c:v>
                </c:pt>
                <c:pt idx="486">
                  <c:v>34206.605549440006</c:v>
                </c:pt>
                <c:pt idx="487">
                  <c:v>34379.330507310005</c:v>
                </c:pt>
                <c:pt idx="488">
                  <c:v>34111.622780449004</c:v>
                </c:pt>
                <c:pt idx="489">
                  <c:v>33433.138445974997</c:v>
                </c:pt>
                <c:pt idx="490">
                  <c:v>33378.246541382003</c:v>
                </c:pt>
                <c:pt idx="491">
                  <c:v>33237.942982072003</c:v>
                </c:pt>
                <c:pt idx="492">
                  <c:v>33187.149344763006</c:v>
                </c:pt>
                <c:pt idx="493">
                  <c:v>33140.732945791009</c:v>
                </c:pt>
                <c:pt idx="494">
                  <c:v>32858.120057385</c:v>
                </c:pt>
                <c:pt idx="495">
                  <c:v>32847.832680799002</c:v>
                </c:pt>
                <c:pt idx="496">
                  <c:v>32639.816748586003</c:v>
                </c:pt>
                <c:pt idx="497">
                  <c:v>32437.629885690003</c:v>
                </c:pt>
                <c:pt idx="498">
                  <c:v>32873.421844672994</c:v>
                </c:pt>
                <c:pt idx="499">
                  <c:v>33501.161754617999</c:v>
                </c:pt>
                <c:pt idx="500">
                  <c:v>33571.318284787005</c:v>
                </c:pt>
                <c:pt idx="501">
                  <c:v>34434.194884083001</c:v>
                </c:pt>
                <c:pt idx="502">
                  <c:v>34638.878526244996</c:v>
                </c:pt>
                <c:pt idx="503">
                  <c:v>34979.887490893001</c:v>
                </c:pt>
                <c:pt idx="504">
                  <c:v>35289.871383705002</c:v>
                </c:pt>
                <c:pt idx="505">
                  <c:v>34812.545423575997</c:v>
                </c:pt>
                <c:pt idx="506">
                  <c:v>34853.261576916004</c:v>
                </c:pt>
                <c:pt idx="507">
                  <c:v>35175.718130078996</c:v>
                </c:pt>
                <c:pt idx="508">
                  <c:v>35675.578232319996</c:v>
                </c:pt>
                <c:pt idx="509">
                  <c:v>35861.670547255999</c:v>
                </c:pt>
                <c:pt idx="510">
                  <c:v>35726.830454720999</c:v>
                </c:pt>
                <c:pt idx="511">
                  <c:v>34709.276189593002</c:v>
                </c:pt>
                <c:pt idx="512">
                  <c:v>34730.160881392003</c:v>
                </c:pt>
                <c:pt idx="513">
                  <c:v>33946.934430101996</c:v>
                </c:pt>
                <c:pt idx="514">
                  <c:v>34369.627878294996</c:v>
                </c:pt>
                <c:pt idx="515">
                  <c:v>34495.029449684997</c:v>
                </c:pt>
                <c:pt idx="516">
                  <c:v>35141.304362408999</c:v>
                </c:pt>
                <c:pt idx="517">
                  <c:v>34564.296907872005</c:v>
                </c:pt>
                <c:pt idx="518">
                  <c:v>35052.252805691998</c:v>
                </c:pt>
                <c:pt idx="519">
                  <c:v>35406.079523344</c:v>
                </c:pt>
                <c:pt idx="520">
                  <c:v>36109.660496935001</c:v>
                </c:pt>
                <c:pt idx="521">
                  <c:v>36380.365186106996</c:v>
                </c:pt>
                <c:pt idx="522">
                  <c:v>36204.193797419008</c:v>
                </c:pt>
                <c:pt idx="523">
                  <c:v>36103.377341947002</c:v>
                </c:pt>
                <c:pt idx="524">
                  <c:v>36287.872986681003</c:v>
                </c:pt>
                <c:pt idx="525">
                  <c:v>36391.292677709003</c:v>
                </c:pt>
                <c:pt idx="526">
                  <c:v>37865.586782405</c:v>
                </c:pt>
                <c:pt idx="527">
                  <c:v>36865.149606813</c:v>
                </c:pt>
                <c:pt idx="528">
                  <c:v>37018.302202384002</c:v>
                </c:pt>
                <c:pt idx="529">
                  <c:v>37195.583564403001</c:v>
                </c:pt>
                <c:pt idx="530">
                  <c:v>37244.830088616</c:v>
                </c:pt>
                <c:pt idx="531">
                  <c:v>38212.673495052004</c:v>
                </c:pt>
                <c:pt idx="532">
                  <c:v>38089.036907300004</c:v>
                </c:pt>
                <c:pt idx="533">
                  <c:v>37931.809727991997</c:v>
                </c:pt>
                <c:pt idx="534">
                  <c:v>37569.539521144005</c:v>
                </c:pt>
                <c:pt idx="535">
                  <c:v>37523.886387327999</c:v>
                </c:pt>
                <c:pt idx="536">
                  <c:v>37405.037981144</c:v>
                </c:pt>
                <c:pt idx="537">
                  <c:v>36635.15720188</c:v>
                </c:pt>
                <c:pt idx="538">
                  <c:v>36101.636067211999</c:v>
                </c:pt>
                <c:pt idx="539">
                  <c:v>36542.505462279005</c:v>
                </c:pt>
                <c:pt idx="540">
                  <c:v>36359.007192864003</c:v>
                </c:pt>
                <c:pt idx="541">
                  <c:v>36432.717229688002</c:v>
                </c:pt>
                <c:pt idx="542">
                  <c:v>35614.018711736004</c:v>
                </c:pt>
                <c:pt idx="543">
                  <c:v>35817.961923706003</c:v>
                </c:pt>
                <c:pt idx="544">
                  <c:v>36102.825172561003</c:v>
                </c:pt>
                <c:pt idx="545">
                  <c:v>35680.737313348</c:v>
                </c:pt>
                <c:pt idx="546">
                  <c:v>36070.088113343998</c:v>
                </c:pt>
                <c:pt idx="547">
                  <c:v>36362.897716177999</c:v>
                </c:pt>
                <c:pt idx="548">
                  <c:v>36573.419417598998</c:v>
                </c:pt>
                <c:pt idx="549">
                  <c:v>36673.495825723003</c:v>
                </c:pt>
                <c:pt idx="550">
                  <c:v>36802.422069691005</c:v>
                </c:pt>
                <c:pt idx="551">
                  <c:v>37377.298485722007</c:v>
                </c:pt>
                <c:pt idx="552">
                  <c:v>37334.907163814998</c:v>
                </c:pt>
                <c:pt idx="553">
                  <c:v>37988.349665066999</c:v>
                </c:pt>
                <c:pt idx="554">
                  <c:v>38544.257913987996</c:v>
                </c:pt>
                <c:pt idx="555">
                  <c:v>38854.764983343004</c:v>
                </c:pt>
                <c:pt idx="556">
                  <c:v>39317.360880995999</c:v>
                </c:pt>
                <c:pt idx="557">
                  <c:v>39805.012253691995</c:v>
                </c:pt>
                <c:pt idx="558">
                  <c:v>39873.205742977996</c:v>
                </c:pt>
                <c:pt idx="559">
                  <c:v>39610.759653775</c:v>
                </c:pt>
                <c:pt idx="560">
                  <c:v>40202.08485798</c:v>
                </c:pt>
                <c:pt idx="561">
                  <c:v>39852.650312070007</c:v>
                </c:pt>
                <c:pt idx="562">
                  <c:v>39824.570950703004</c:v>
                </c:pt>
                <c:pt idx="563">
                  <c:v>40382.590168062001</c:v>
                </c:pt>
                <c:pt idx="564">
                  <c:v>40328.190724680004</c:v>
                </c:pt>
                <c:pt idx="565">
                  <c:v>39694.036485873999</c:v>
                </c:pt>
                <c:pt idx="566">
                  <c:v>40021.559078784005</c:v>
                </c:pt>
                <c:pt idx="567">
                  <c:v>39817.719607532003</c:v>
                </c:pt>
                <c:pt idx="568">
                  <c:v>40663.603994889003</c:v>
                </c:pt>
                <c:pt idx="569">
                  <c:v>40653.006661045998</c:v>
                </c:pt>
                <c:pt idx="570">
                  <c:v>41073.348647138002</c:v>
                </c:pt>
                <c:pt idx="571">
                  <c:v>41466.196965443996</c:v>
                </c:pt>
                <c:pt idx="572">
                  <c:v>41347.039288804997</c:v>
                </c:pt>
                <c:pt idx="573">
                  <c:v>41345.517446430997</c:v>
                </c:pt>
                <c:pt idx="574">
                  <c:v>41397.553554905004</c:v>
                </c:pt>
                <c:pt idx="575">
                  <c:v>42634.524519958999</c:v>
                </c:pt>
                <c:pt idx="576">
                  <c:v>43059.066429325001</c:v>
                </c:pt>
                <c:pt idx="577">
                  <c:v>41952.99328486</c:v>
                </c:pt>
                <c:pt idx="578">
                  <c:v>42041.845205618003</c:v>
                </c:pt>
                <c:pt idx="579">
                  <c:v>42590.168933054003</c:v>
                </c:pt>
                <c:pt idx="580">
                  <c:v>41642.795365058002</c:v>
                </c:pt>
                <c:pt idx="581">
                  <c:v>42367.065765531006</c:v>
                </c:pt>
                <c:pt idx="582">
                  <c:v>43011.390566499998</c:v>
                </c:pt>
                <c:pt idx="583">
                  <c:v>43037.782649990004</c:v>
                </c:pt>
                <c:pt idx="584">
                  <c:v>43261.894411123001</c:v>
                </c:pt>
                <c:pt idx="585">
                  <c:v>42989.876057170004</c:v>
                </c:pt>
                <c:pt idx="586">
                  <c:v>43532.909743529002</c:v>
                </c:pt>
                <c:pt idx="587">
                  <c:v>43531.438684676999</c:v>
                </c:pt>
                <c:pt idx="588">
                  <c:v>43127.036695228002</c:v>
                </c:pt>
                <c:pt idx="589">
                  <c:v>42915.482488859008</c:v>
                </c:pt>
                <c:pt idx="590">
                  <c:v>42803.891264311998</c:v>
                </c:pt>
                <c:pt idx="591">
                  <c:v>43109.716632197</c:v>
                </c:pt>
                <c:pt idx="592">
                  <c:v>43546.468468879</c:v>
                </c:pt>
                <c:pt idx="593">
                  <c:v>43607.894970024994</c:v>
                </c:pt>
                <c:pt idx="594">
                  <c:v>45795.857540985999</c:v>
                </c:pt>
                <c:pt idx="595">
                  <c:v>46696.825740530003</c:v>
                </c:pt>
                <c:pt idx="596">
                  <c:v>46926.309594448998</c:v>
                </c:pt>
                <c:pt idx="597">
                  <c:v>47035.503065985999</c:v>
                </c:pt>
                <c:pt idx="598">
                  <c:v>47021.879354463003</c:v>
                </c:pt>
                <c:pt idx="599">
                  <c:v>46812.605184413005</c:v>
                </c:pt>
                <c:pt idx="600">
                  <c:v>47156.487269135003</c:v>
                </c:pt>
                <c:pt idx="601">
                  <c:v>47226.306677586996</c:v>
                </c:pt>
                <c:pt idx="602">
                  <c:v>47638.090807013999</c:v>
                </c:pt>
                <c:pt idx="603">
                  <c:v>47618.902971151998</c:v>
                </c:pt>
                <c:pt idx="604">
                  <c:v>47624.840082217008</c:v>
                </c:pt>
                <c:pt idx="605">
                  <c:v>47197.670079618998</c:v>
                </c:pt>
                <c:pt idx="606">
                  <c:v>46380.991427030996</c:v>
                </c:pt>
                <c:pt idx="607">
                  <c:v>45868.100933499998</c:v>
                </c:pt>
                <c:pt idx="608">
                  <c:v>45308.827904416998</c:v>
                </c:pt>
                <c:pt idx="609">
                  <c:v>45160.103702271997</c:v>
                </c:pt>
                <c:pt idx="610">
                  <c:v>45071.289571779998</c:v>
                </c:pt>
                <c:pt idx="611">
                  <c:v>45127.245431570002</c:v>
                </c:pt>
                <c:pt idx="612">
                  <c:v>45626.488082005999</c:v>
                </c:pt>
                <c:pt idx="613">
                  <c:v>45662.402617904998</c:v>
                </c:pt>
                <c:pt idx="614">
                  <c:v>45757.481905436005</c:v>
                </c:pt>
                <c:pt idx="615">
                  <c:v>45635.386550619995</c:v>
                </c:pt>
                <c:pt idx="616">
                  <c:v>45609.391582971002</c:v>
                </c:pt>
                <c:pt idx="617">
                  <c:v>45754.411866966002</c:v>
                </c:pt>
                <c:pt idx="618">
                  <c:v>45542.909225219999</c:v>
                </c:pt>
                <c:pt idx="619">
                  <c:v>45586.027912856007</c:v>
                </c:pt>
                <c:pt idx="620">
                  <c:v>45384.413231354993</c:v>
                </c:pt>
                <c:pt idx="621">
                  <c:v>44961.684357211001</c:v>
                </c:pt>
                <c:pt idx="622">
                  <c:v>44581.701246100005</c:v>
                </c:pt>
                <c:pt idx="623">
                  <c:v>44642.368188715001</c:v>
                </c:pt>
                <c:pt idx="624">
                  <c:v>45244.799196706001</c:v>
                </c:pt>
                <c:pt idx="625">
                  <c:v>45590.683655736997</c:v>
                </c:pt>
                <c:pt idx="626">
                  <c:v>45051.426324999993</c:v>
                </c:pt>
                <c:pt idx="627">
                  <c:v>44362.347781774006</c:v>
                </c:pt>
                <c:pt idx="628">
                  <c:v>44276.125467652004</c:v>
                </c:pt>
                <c:pt idx="629">
                  <c:v>44135.777109732997</c:v>
                </c:pt>
                <c:pt idx="630">
                  <c:v>43747.828491393004</c:v>
                </c:pt>
                <c:pt idx="631">
                  <c:v>43730.218861349</c:v>
                </c:pt>
                <c:pt idx="632">
                  <c:v>43721.403335613999</c:v>
                </c:pt>
                <c:pt idx="633">
                  <c:v>44280.454601256999</c:v>
                </c:pt>
                <c:pt idx="634">
                  <c:v>43982.920751783997</c:v>
                </c:pt>
                <c:pt idx="635">
                  <c:v>44258.622326575001</c:v>
                </c:pt>
                <c:pt idx="636">
                  <c:v>43855.707397010003</c:v>
                </c:pt>
                <c:pt idx="637">
                  <c:v>43703.756448998</c:v>
                </c:pt>
                <c:pt idx="638">
                  <c:v>43083.091767409998</c:v>
                </c:pt>
                <c:pt idx="639">
                  <c:v>43207.179627702993</c:v>
                </c:pt>
                <c:pt idx="640">
                  <c:v>42040.182337664002</c:v>
                </c:pt>
                <c:pt idx="641">
                  <c:v>42196.361607487997</c:v>
                </c:pt>
                <c:pt idx="642">
                  <c:v>42762.326579414002</c:v>
                </c:pt>
                <c:pt idx="643">
                  <c:v>42499.353289229002</c:v>
                </c:pt>
                <c:pt idx="644">
                  <c:v>42624.990133440006</c:v>
                </c:pt>
                <c:pt idx="645">
                  <c:v>42856.918011696995</c:v>
                </c:pt>
                <c:pt idx="646">
                  <c:v>42847.174612999996</c:v>
                </c:pt>
                <c:pt idx="647">
                  <c:v>43314.835834561003</c:v>
                </c:pt>
                <c:pt idx="648">
                  <c:v>42602.042476276998</c:v>
                </c:pt>
                <c:pt idx="649">
                  <c:v>42698.191197451</c:v>
                </c:pt>
                <c:pt idx="650">
                  <c:v>43029.954788549003</c:v>
                </c:pt>
                <c:pt idx="651">
                  <c:v>44589.942365152005</c:v>
                </c:pt>
                <c:pt idx="652">
                  <c:v>45436.513294296004</c:v>
                </c:pt>
                <c:pt idx="653">
                  <c:v>45523.652677758</c:v>
                </c:pt>
                <c:pt idx="654">
                  <c:v>45424.094170541</c:v>
                </c:pt>
                <c:pt idx="655">
                  <c:v>46320.254118176999</c:v>
                </c:pt>
                <c:pt idx="656">
                  <c:v>46136.219517106998</c:v>
                </c:pt>
                <c:pt idx="657">
                  <c:v>46134.50430669701</c:v>
                </c:pt>
                <c:pt idx="658">
                  <c:v>48266.533715358004</c:v>
                </c:pt>
                <c:pt idx="659">
                  <c:v>49569.128501186999</c:v>
                </c:pt>
                <c:pt idx="660">
                  <c:v>50259.029846314006</c:v>
                </c:pt>
                <c:pt idx="661">
                  <c:v>51228.588706853006</c:v>
                </c:pt>
                <c:pt idx="662">
                  <c:v>51694.342827449997</c:v>
                </c:pt>
                <c:pt idx="663">
                  <c:v>50600.382949906998</c:v>
                </c:pt>
                <c:pt idx="664">
                  <c:v>51991.559411328999</c:v>
                </c:pt>
                <c:pt idx="665">
                  <c:v>51993.037822186998</c:v>
                </c:pt>
                <c:pt idx="666">
                  <c:v>52377.026695128996</c:v>
                </c:pt>
                <c:pt idx="667">
                  <c:v>51789.981745022997</c:v>
                </c:pt>
                <c:pt idx="668">
                  <c:v>52284.688485485</c:v>
                </c:pt>
                <c:pt idx="669">
                  <c:v>50690.091321936008</c:v>
                </c:pt>
                <c:pt idx="670">
                  <c:v>50830.945463472999</c:v>
                </c:pt>
                <c:pt idx="671">
                  <c:v>50793.898977692006</c:v>
                </c:pt>
                <c:pt idx="672">
                  <c:v>50033.104017139995</c:v>
                </c:pt>
                <c:pt idx="673">
                  <c:v>48934.968660824998</c:v>
                </c:pt>
                <c:pt idx="674">
                  <c:v>47634.723106457997</c:v>
                </c:pt>
                <c:pt idx="675">
                  <c:v>47136.993063125003</c:v>
                </c:pt>
                <c:pt idx="676">
                  <c:v>46502.592643933007</c:v>
                </c:pt>
                <c:pt idx="677">
                  <c:v>46923.447331105999</c:v>
                </c:pt>
                <c:pt idx="678">
                  <c:v>46040.248478109002</c:v>
                </c:pt>
                <c:pt idx="679">
                  <c:v>45766.638338821998</c:v>
                </c:pt>
                <c:pt idx="680">
                  <c:v>47158.430726655992</c:v>
                </c:pt>
                <c:pt idx="681">
                  <c:v>47966.146436475996</c:v>
                </c:pt>
                <c:pt idx="682">
                  <c:v>47601.661710316002</c:v>
                </c:pt>
                <c:pt idx="683">
                  <c:v>48168.130869052999</c:v>
                </c:pt>
                <c:pt idx="684">
                  <c:v>48217.867970708001</c:v>
                </c:pt>
                <c:pt idx="685">
                  <c:v>48531.167655197998</c:v>
                </c:pt>
                <c:pt idx="686">
                  <c:v>49784.398006988005</c:v>
                </c:pt>
                <c:pt idx="687">
                  <c:v>50608.379827284996</c:v>
                </c:pt>
                <c:pt idx="688">
                  <c:v>49548.915683209998</c:v>
                </c:pt>
                <c:pt idx="689">
                  <c:v>51742.84927893</c:v>
                </c:pt>
                <c:pt idx="690">
                  <c:v>52460.617657260002</c:v>
                </c:pt>
                <c:pt idx="691">
                  <c:v>51523.192700623003</c:v>
                </c:pt>
                <c:pt idx="692">
                  <c:v>51152.781266613005</c:v>
                </c:pt>
                <c:pt idx="693">
                  <c:v>51423.067420314997</c:v>
                </c:pt>
                <c:pt idx="694">
                  <c:v>51529.932182215001</c:v>
                </c:pt>
                <c:pt idx="695">
                  <c:v>51284.420599015997</c:v>
                </c:pt>
                <c:pt idx="696">
                  <c:v>50545.697309083</c:v>
                </c:pt>
                <c:pt idx="697">
                  <c:v>49648.291052372006</c:v>
                </c:pt>
                <c:pt idx="698">
                  <c:v>49331.125138153991</c:v>
                </c:pt>
                <c:pt idx="699">
                  <c:v>48755.652215843002</c:v>
                </c:pt>
                <c:pt idx="700">
                  <c:v>48697.034717638002</c:v>
                </c:pt>
                <c:pt idx="701">
                  <c:v>48654.241737055003</c:v>
                </c:pt>
                <c:pt idx="702">
                  <c:v>49227.428564771006</c:v>
                </c:pt>
                <c:pt idx="703">
                  <c:v>49015.688791532004</c:v>
                </c:pt>
                <c:pt idx="704">
                  <c:v>49562.273067955</c:v>
                </c:pt>
                <c:pt idx="705">
                  <c:v>49386.175205043</c:v>
                </c:pt>
                <c:pt idx="706">
                  <c:v>49951.671045866002</c:v>
                </c:pt>
                <c:pt idx="707">
                  <c:v>43389.018795597003</c:v>
                </c:pt>
                <c:pt idx="708">
                  <c:v>44669.530848886003</c:v>
                </c:pt>
                <c:pt idx="709">
                  <c:v>45722.170965233003</c:v>
                </c:pt>
                <c:pt idx="710">
                  <c:v>43840.61514686</c:v>
                </c:pt>
                <c:pt idx="711">
                  <c:v>44178.672562014006</c:v>
                </c:pt>
                <c:pt idx="712">
                  <c:v>44908.707275456996</c:v>
                </c:pt>
                <c:pt idx="713">
                  <c:v>43824.640551447003</c:v>
                </c:pt>
                <c:pt idx="714">
                  <c:v>43768.67514991801</c:v>
                </c:pt>
                <c:pt idx="715">
                  <c:v>43814.822104739003</c:v>
                </c:pt>
                <c:pt idx="716">
                  <c:v>42284.645898165996</c:v>
                </c:pt>
                <c:pt idx="717">
                  <c:v>43078.309044506008</c:v>
                </c:pt>
                <c:pt idx="718">
                  <c:v>41988.321437828999</c:v>
                </c:pt>
                <c:pt idx="719">
                  <c:v>41538.802407739</c:v>
                </c:pt>
                <c:pt idx="720">
                  <c:v>40280.474923745998</c:v>
                </c:pt>
                <c:pt idx="721">
                  <c:v>40136.635510300002</c:v>
                </c:pt>
                <c:pt idx="722">
                  <c:v>40077.555710501001</c:v>
                </c:pt>
                <c:pt idx="723">
                  <c:v>39815.917049078002</c:v>
                </c:pt>
                <c:pt idx="724">
                  <c:v>39534.440101822001</c:v>
                </c:pt>
                <c:pt idx="725">
                  <c:v>40217.472562622002</c:v>
                </c:pt>
                <c:pt idx="726">
                  <c:v>41128.576875945</c:v>
                </c:pt>
                <c:pt idx="727">
                  <c:v>40016.323044438999</c:v>
                </c:pt>
                <c:pt idx="728">
                  <c:v>39230.564576128003</c:v>
                </c:pt>
                <c:pt idx="729">
                  <c:v>39993.120891193001</c:v>
                </c:pt>
                <c:pt idx="730">
                  <c:v>39493.425305978002</c:v>
                </c:pt>
                <c:pt idx="731">
                  <c:v>40047.714053517004</c:v>
                </c:pt>
                <c:pt idx="732">
                  <c:v>40849.122910462997</c:v>
                </c:pt>
                <c:pt idx="733">
                  <c:v>40966.908061385999</c:v>
                </c:pt>
                <c:pt idx="734">
                  <c:v>40546.041625886006</c:v>
                </c:pt>
                <c:pt idx="735">
                  <c:v>40109.679533952003</c:v>
                </c:pt>
                <c:pt idx="736">
                  <c:v>40146.662738876003</c:v>
                </c:pt>
                <c:pt idx="737">
                  <c:v>40604.633515451002</c:v>
                </c:pt>
                <c:pt idx="738">
                  <c:v>40516.843756418995</c:v>
                </c:pt>
                <c:pt idx="739">
                  <c:v>39919.671146859007</c:v>
                </c:pt>
                <c:pt idx="740">
                  <c:v>38513.510170189998</c:v>
                </c:pt>
                <c:pt idx="741">
                  <c:v>38072.328743455997</c:v>
                </c:pt>
                <c:pt idx="742">
                  <c:v>37964.433408826008</c:v>
                </c:pt>
                <c:pt idx="743">
                  <c:v>32903.439758851993</c:v>
                </c:pt>
                <c:pt idx="744">
                  <c:v>32943.514211623995</c:v>
                </c:pt>
                <c:pt idx="745">
                  <c:v>32642.590058055001</c:v>
                </c:pt>
                <c:pt idx="746">
                  <c:v>31049.198212656</c:v>
                </c:pt>
                <c:pt idx="747">
                  <c:v>27923.349796966002</c:v>
                </c:pt>
                <c:pt idx="748">
                  <c:v>28713.900928188999</c:v>
                </c:pt>
                <c:pt idx="749">
                  <c:v>28848.153394084005</c:v>
                </c:pt>
                <c:pt idx="750">
                  <c:v>27247.417529058002</c:v>
                </c:pt>
                <c:pt idx="751">
                  <c:v>26910.563979971004</c:v>
                </c:pt>
                <c:pt idx="752">
                  <c:v>29845.559613188998</c:v>
                </c:pt>
                <c:pt idx="753">
                  <c:v>28622.840599170995</c:v>
                </c:pt>
                <c:pt idx="754">
                  <c:v>27899.753777117003</c:v>
                </c:pt>
                <c:pt idx="755">
                  <c:v>27418.789372494</c:v>
                </c:pt>
                <c:pt idx="756">
                  <c:v>27668.262337701002</c:v>
                </c:pt>
                <c:pt idx="757">
                  <c:v>28987.052129446001</c:v>
                </c:pt>
                <c:pt idx="758">
                  <c:v>28967.350833706998</c:v>
                </c:pt>
                <c:pt idx="759">
                  <c:v>29487.297912732</c:v>
                </c:pt>
                <c:pt idx="760">
                  <c:v>29682.766915672008</c:v>
                </c:pt>
                <c:pt idx="761">
                  <c:v>29794.675153504002</c:v>
                </c:pt>
                <c:pt idx="762">
                  <c:v>29784.105997239996</c:v>
                </c:pt>
                <c:pt idx="763">
                  <c:v>30062.922343409999</c:v>
                </c:pt>
                <c:pt idx="764">
                  <c:v>30003.539641353993</c:v>
                </c:pt>
                <c:pt idx="765">
                  <c:v>29427.889873606004</c:v>
                </c:pt>
                <c:pt idx="766">
                  <c:v>30848.243758709999</c:v>
                </c:pt>
                <c:pt idx="767">
                  <c:v>30826.818256787992</c:v>
                </c:pt>
                <c:pt idx="768">
                  <c:v>30827.195781852995</c:v>
                </c:pt>
                <c:pt idx="769">
                  <c:v>31184.537385014999</c:v>
                </c:pt>
                <c:pt idx="770">
                  <c:v>31281.440116860002</c:v>
                </c:pt>
                <c:pt idx="771">
                  <c:v>30615.033112626003</c:v>
                </c:pt>
                <c:pt idx="772">
                  <c:v>31318.010857531001</c:v>
                </c:pt>
                <c:pt idx="773">
                  <c:v>29913.535091657002</c:v>
                </c:pt>
                <c:pt idx="774">
                  <c:v>29170.677168804003</c:v>
                </c:pt>
                <c:pt idx="775">
                  <c:v>26959.144228776</c:v>
                </c:pt>
                <c:pt idx="776">
                  <c:v>27406.526459594999</c:v>
                </c:pt>
                <c:pt idx="777">
                  <c:v>26070.305181080999</c:v>
                </c:pt>
                <c:pt idx="778">
                  <c:v>24848.086391893004</c:v>
                </c:pt>
                <c:pt idx="779">
                  <c:v>24042.509448880999</c:v>
                </c:pt>
                <c:pt idx="780">
                  <c:v>25721.884267682999</c:v>
                </c:pt>
                <c:pt idx="781">
                  <c:v>25322.900742694001</c:v>
                </c:pt>
                <c:pt idx="782">
                  <c:v>25629.706555828998</c:v>
                </c:pt>
                <c:pt idx="783">
                  <c:v>24835.557754048998</c:v>
                </c:pt>
                <c:pt idx="784">
                  <c:v>24586.749348885998</c:v>
                </c:pt>
                <c:pt idx="785">
                  <c:v>24551.824547303</c:v>
                </c:pt>
                <c:pt idx="786">
                  <c:v>25501.519862835001</c:v>
                </c:pt>
                <c:pt idx="787">
                  <c:v>25907.022141475998</c:v>
                </c:pt>
                <c:pt idx="788">
                  <c:v>25719.911372125003</c:v>
                </c:pt>
                <c:pt idx="789">
                  <c:v>25485.256208341998</c:v>
                </c:pt>
                <c:pt idx="790">
                  <c:v>25020.263642405</c:v>
                </c:pt>
                <c:pt idx="791">
                  <c:v>24867.563648998002</c:v>
                </c:pt>
                <c:pt idx="792">
                  <c:v>24064.481891476004</c:v>
                </c:pt>
                <c:pt idx="793">
                  <c:v>22879.612958435006</c:v>
                </c:pt>
                <c:pt idx="794">
                  <c:v>22911.429662004004</c:v>
                </c:pt>
                <c:pt idx="795">
                  <c:v>23328.626869016</c:v>
                </c:pt>
                <c:pt idx="796">
                  <c:v>23222.355889003</c:v>
                </c:pt>
                <c:pt idx="797">
                  <c:v>22981.057708341999</c:v>
                </c:pt>
                <c:pt idx="798">
                  <c:v>22847.487225974</c:v>
                </c:pt>
                <c:pt idx="799">
                  <c:v>23832.637402827</c:v>
                </c:pt>
                <c:pt idx="800">
                  <c:v>23543.694893304</c:v>
                </c:pt>
                <c:pt idx="801">
                  <c:v>24097.540434794999</c:v>
                </c:pt>
                <c:pt idx="802">
                  <c:v>24105.208544944999</c:v>
                </c:pt>
                <c:pt idx="803">
                  <c:v>24222.172211303001</c:v>
                </c:pt>
                <c:pt idx="804">
                  <c:v>24407.850188495002</c:v>
                </c:pt>
                <c:pt idx="805">
                  <c:v>24581.929262276997</c:v>
                </c:pt>
                <c:pt idx="806">
                  <c:v>24638.615803467001</c:v>
                </c:pt>
                <c:pt idx="807">
                  <c:v>24985.164185971</c:v>
                </c:pt>
                <c:pt idx="808">
                  <c:v>24758.171092375</c:v>
                </c:pt>
                <c:pt idx="809">
                  <c:v>24397.496665258001</c:v>
                </c:pt>
                <c:pt idx="810">
                  <c:v>23850.37631095</c:v>
                </c:pt>
                <c:pt idx="811">
                  <c:v>23794.209706278998</c:v>
                </c:pt>
                <c:pt idx="812">
                  <c:v>23664.922134782999</c:v>
                </c:pt>
                <c:pt idx="813">
                  <c:v>23730.987788237002</c:v>
                </c:pt>
                <c:pt idx="814">
                  <c:v>22893.584136368001</c:v>
                </c:pt>
                <c:pt idx="815">
                  <c:v>23102.517733512999</c:v>
                </c:pt>
                <c:pt idx="816">
                  <c:v>22833.904513998001</c:v>
                </c:pt>
                <c:pt idx="817">
                  <c:v>22970.614214573998</c:v>
                </c:pt>
                <c:pt idx="818">
                  <c:v>22053.215252018999</c:v>
                </c:pt>
                <c:pt idx="819">
                  <c:v>22646.870333407998</c:v>
                </c:pt>
                <c:pt idx="820">
                  <c:v>22628.730705397</c:v>
                </c:pt>
                <c:pt idx="821">
                  <c:v>22320.552957045998</c:v>
                </c:pt>
                <c:pt idx="822">
                  <c:v>22812.941917219003</c:v>
                </c:pt>
                <c:pt idx="823">
                  <c:v>21760.928573130001</c:v>
                </c:pt>
                <c:pt idx="824">
                  <c:v>21827.266253180998</c:v>
                </c:pt>
                <c:pt idx="825">
                  <c:v>21527.779959862004</c:v>
                </c:pt>
                <c:pt idx="826">
                  <c:v>21514.632555267999</c:v>
                </c:pt>
                <c:pt idx="827">
                  <c:v>21368.583541457003</c:v>
                </c:pt>
                <c:pt idx="828">
                  <c:v>21214.070285174999</c:v>
                </c:pt>
                <c:pt idx="829">
                  <c:v>20528.089953066999</c:v>
                </c:pt>
                <c:pt idx="830">
                  <c:v>20710.885080141001</c:v>
                </c:pt>
                <c:pt idx="831">
                  <c:v>20275.651535876001</c:v>
                </c:pt>
                <c:pt idx="832">
                  <c:v>20657.733680084002</c:v>
                </c:pt>
                <c:pt idx="833">
                  <c:v>20401.065779510001</c:v>
                </c:pt>
                <c:pt idx="834">
                  <c:v>20618.358318349001</c:v>
                </c:pt>
                <c:pt idx="835">
                  <c:v>20216.752032893004</c:v>
                </c:pt>
                <c:pt idx="836">
                  <c:v>20274.236828535999</c:v>
                </c:pt>
                <c:pt idx="837">
                  <c:v>20579.354093561997</c:v>
                </c:pt>
                <c:pt idx="838">
                  <c:v>20146.902339873999</c:v>
                </c:pt>
                <c:pt idx="839">
                  <c:v>20048.143596296002</c:v>
                </c:pt>
                <c:pt idx="840">
                  <c:v>20153.157294799003</c:v>
                </c:pt>
                <c:pt idx="841">
                  <c:v>20768.833831438998</c:v>
                </c:pt>
                <c:pt idx="842">
                  <c:v>20567.1673882</c:v>
                </c:pt>
                <c:pt idx="843">
                  <c:v>20242.344779319999</c:v>
                </c:pt>
                <c:pt idx="844">
                  <c:v>19936.4066829</c:v>
                </c:pt>
                <c:pt idx="845">
                  <c:v>20473.017170449999</c:v>
                </c:pt>
                <c:pt idx="846">
                  <c:v>20498.62813144</c:v>
                </c:pt>
                <c:pt idx="847">
                  <c:v>20789.749311650001</c:v>
                </c:pt>
                <c:pt idx="848">
                  <c:v>21322.609731439999</c:v>
                </c:pt>
                <c:pt idx="849">
                  <c:v>21703.645676708999</c:v>
                </c:pt>
                <c:pt idx="850">
                  <c:v>20629.691622440001</c:v>
                </c:pt>
                <c:pt idx="851">
                  <c:v>20620.580672358999</c:v>
                </c:pt>
                <c:pt idx="852">
                  <c:v>21429.675399479001</c:v>
                </c:pt>
                <c:pt idx="853">
                  <c:v>21115.150340352</c:v>
                </c:pt>
                <c:pt idx="854">
                  <c:v>21120.925202358998</c:v>
                </c:pt>
                <c:pt idx="855">
                  <c:v>20993.773979409001</c:v>
                </c:pt>
                <c:pt idx="856">
                  <c:v>21061.058607414001</c:v>
                </c:pt>
                <c:pt idx="857">
                  <c:v>21153.013316532997</c:v>
                </c:pt>
                <c:pt idx="858">
                  <c:v>21876.606254638999</c:v>
                </c:pt>
                <c:pt idx="859">
                  <c:v>21208.152249769999</c:v>
                </c:pt>
                <c:pt idx="860">
                  <c:v>21304.640791820999</c:v>
                </c:pt>
                <c:pt idx="861">
                  <c:v>21731.673479680998</c:v>
                </c:pt>
                <c:pt idx="862">
                  <c:v>21817.633897568001</c:v>
                </c:pt>
                <c:pt idx="863">
                  <c:v>21980.492068795</c:v>
                </c:pt>
                <c:pt idx="864">
                  <c:v>21908.302701265999</c:v>
                </c:pt>
                <c:pt idx="865">
                  <c:v>21936.987433975002</c:v>
                </c:pt>
                <c:pt idx="866">
                  <c:v>22721.843039240001</c:v>
                </c:pt>
                <c:pt idx="867">
                  <c:v>22812.565468541001</c:v>
                </c:pt>
                <c:pt idx="868">
                  <c:v>23354.234197993002</c:v>
                </c:pt>
                <c:pt idx="869">
                  <c:v>23413.005353203</c:v>
                </c:pt>
                <c:pt idx="870">
                  <c:v>22990.898105483</c:v>
                </c:pt>
                <c:pt idx="871">
                  <c:v>23366.231530485002</c:v>
                </c:pt>
                <c:pt idx="872">
                  <c:v>22368.893395395004</c:v>
                </c:pt>
                <c:pt idx="873">
                  <c:v>22262.480598997001</c:v>
                </c:pt>
                <c:pt idx="874">
                  <c:v>21727.598498990999</c:v>
                </c:pt>
                <c:pt idx="875">
                  <c:v>21937.069049302001</c:v>
                </c:pt>
                <c:pt idx="876">
                  <c:v>22405.867494370999</c:v>
                </c:pt>
                <c:pt idx="877">
                  <c:v>22374.613724452</c:v>
                </c:pt>
                <c:pt idx="878">
                  <c:v>22585.272047311002</c:v>
                </c:pt>
                <c:pt idx="879">
                  <c:v>22615.619800166001</c:v>
                </c:pt>
                <c:pt idx="880">
                  <c:v>22777.321915471002</c:v>
                </c:pt>
                <c:pt idx="881">
                  <c:v>22706.594624272002</c:v>
                </c:pt>
                <c:pt idx="882">
                  <c:v>22941.568779922</c:v>
                </c:pt>
                <c:pt idx="883">
                  <c:v>22758.628641096999</c:v>
                </c:pt>
                <c:pt idx="884">
                  <c:v>23348.234555611001</c:v>
                </c:pt>
                <c:pt idx="885">
                  <c:v>23205.931058755999</c:v>
                </c:pt>
                <c:pt idx="886">
                  <c:v>24014.483318331</c:v>
                </c:pt>
                <c:pt idx="887">
                  <c:v>23120.430079730999</c:v>
                </c:pt>
                <c:pt idx="888">
                  <c:v>23765.981599346997</c:v>
                </c:pt>
                <c:pt idx="889">
                  <c:v>24333.830860706999</c:v>
                </c:pt>
                <c:pt idx="890">
                  <c:v>23755.470249577</c:v>
                </c:pt>
                <c:pt idx="891">
                  <c:v>23602.772500732</c:v>
                </c:pt>
                <c:pt idx="892">
                  <c:v>23467.003995691</c:v>
                </c:pt>
                <c:pt idx="893">
                  <c:v>23500.200341200998</c:v>
                </c:pt>
                <c:pt idx="894">
                  <c:v>23280.155646191997</c:v>
                </c:pt>
                <c:pt idx="895">
                  <c:v>23505.666557329001</c:v>
                </c:pt>
                <c:pt idx="896">
                  <c:v>23851.906756921002</c:v>
                </c:pt>
                <c:pt idx="897">
                  <c:v>23994.111977733002</c:v>
                </c:pt>
                <c:pt idx="898">
                  <c:v>24104.924129163999</c:v>
                </c:pt>
                <c:pt idx="899">
                  <c:v>24043.343017574</c:v>
                </c:pt>
                <c:pt idx="900">
                  <c:v>23703.260173893999</c:v>
                </c:pt>
                <c:pt idx="901">
                  <c:v>23618.534714084999</c:v>
                </c:pt>
                <c:pt idx="902">
                  <c:v>23565.464058574002</c:v>
                </c:pt>
                <c:pt idx="903">
                  <c:v>23318.323751319003</c:v>
                </c:pt>
                <c:pt idx="904">
                  <c:v>23619.865651084001</c:v>
                </c:pt>
                <c:pt idx="905">
                  <c:v>24041.34111596</c:v>
                </c:pt>
                <c:pt idx="906">
                  <c:v>23319.938425495999</c:v>
                </c:pt>
                <c:pt idx="907">
                  <c:v>23126.868878858</c:v>
                </c:pt>
                <c:pt idx="908">
                  <c:v>23686.956443814997</c:v>
                </c:pt>
                <c:pt idx="909">
                  <c:v>23625.207967045</c:v>
                </c:pt>
                <c:pt idx="910">
                  <c:v>23684.968766185</c:v>
                </c:pt>
                <c:pt idx="911">
                  <c:v>23611.132561811999</c:v>
                </c:pt>
                <c:pt idx="912">
                  <c:v>24108.180639936996</c:v>
                </c:pt>
                <c:pt idx="913">
                  <c:v>24355.833290583003</c:v>
                </c:pt>
                <c:pt idx="914">
                  <c:v>24277.181647990001</c:v>
                </c:pt>
                <c:pt idx="915">
                  <c:v>24250.207494388</c:v>
                </c:pt>
                <c:pt idx="916">
                  <c:v>24024.675808480999</c:v>
                </c:pt>
                <c:pt idx="917">
                  <c:v>24291.009638185998</c:v>
                </c:pt>
                <c:pt idx="918">
                  <c:v>24363.618247163002</c:v>
                </c:pt>
                <c:pt idx="919">
                  <c:v>24638.113843850999</c:v>
                </c:pt>
                <c:pt idx="920">
                  <c:v>24507.625998035001</c:v>
                </c:pt>
                <c:pt idx="921">
                  <c:v>24827.725779888999</c:v>
                </c:pt>
                <c:pt idx="922">
                  <c:v>25722.096041172001</c:v>
                </c:pt>
                <c:pt idx="923">
                  <c:v>25552.293190329001</c:v>
                </c:pt>
                <c:pt idx="924">
                  <c:v>25210.191423019001</c:v>
                </c:pt>
                <c:pt idx="925">
                  <c:v>25325.206203023001</c:v>
                </c:pt>
                <c:pt idx="926">
                  <c:v>25457.096319243003</c:v>
                </c:pt>
                <c:pt idx="927">
                  <c:v>25582.081823068998</c:v>
                </c:pt>
                <c:pt idx="928">
                  <c:v>25061.331963101999</c:v>
                </c:pt>
                <c:pt idx="929">
                  <c:v>25313.969355146</c:v>
                </c:pt>
                <c:pt idx="930">
                  <c:v>25671.411651893999</c:v>
                </c:pt>
                <c:pt idx="931">
                  <c:v>25949.608532164999</c:v>
                </c:pt>
                <c:pt idx="932">
                  <c:v>25879.744590787999</c:v>
                </c:pt>
                <c:pt idx="933">
                  <c:v>26019.678570778</c:v>
                </c:pt>
                <c:pt idx="934">
                  <c:v>26016.421627571002</c:v>
                </c:pt>
                <c:pt idx="935">
                  <c:v>25953.251718479001</c:v>
                </c:pt>
                <c:pt idx="936">
                  <c:v>26000.193135107002</c:v>
                </c:pt>
                <c:pt idx="937">
                  <c:v>26146.878358222999</c:v>
                </c:pt>
                <c:pt idx="938">
                  <c:v>25904.139581759002</c:v>
                </c:pt>
                <c:pt idx="939">
                  <c:v>25941.933173083999</c:v>
                </c:pt>
                <c:pt idx="940">
                  <c:v>26047.889234315997</c:v>
                </c:pt>
                <c:pt idx="941">
                  <c:v>26108.671253036999</c:v>
                </c:pt>
                <c:pt idx="942">
                  <c:v>25792.401425008</c:v>
                </c:pt>
                <c:pt idx="943">
                  <c:v>25475.589186088997</c:v>
                </c:pt>
                <c:pt idx="944">
                  <c:v>25816.194482810002</c:v>
                </c:pt>
                <c:pt idx="945">
                  <c:v>25373.044020788002</c:v>
                </c:pt>
                <c:pt idx="946">
                  <c:v>24749.13097582</c:v>
                </c:pt>
                <c:pt idx="947">
                  <c:v>24862.698982684997</c:v>
                </c:pt>
                <c:pt idx="948">
                  <c:v>25302.585449945</c:v>
                </c:pt>
                <c:pt idx="949">
                  <c:v>24843.858845046998</c:v>
                </c:pt>
                <c:pt idx="950">
                  <c:v>24502.732919919999</c:v>
                </c:pt>
                <c:pt idx="951">
                  <c:v>24725.077104796001</c:v>
                </c:pt>
                <c:pt idx="952">
                  <c:v>24533.233924638</c:v>
                </c:pt>
                <c:pt idx="953">
                  <c:v>24910.884044705999</c:v>
                </c:pt>
                <c:pt idx="954">
                  <c:v>24938.651972451</c:v>
                </c:pt>
                <c:pt idx="955">
                  <c:v>36933.572566160998</c:v>
                </c:pt>
                <c:pt idx="956">
                  <c:v>37084.187553554999</c:v>
                </c:pt>
                <c:pt idx="957">
                  <c:v>37477.313036769003</c:v>
                </c:pt>
                <c:pt idx="958">
                  <c:v>37595.391767631001</c:v>
                </c:pt>
                <c:pt idx="959">
                  <c:v>37627.903030784997</c:v>
                </c:pt>
                <c:pt idx="960">
                  <c:v>37761.366761447003</c:v>
                </c:pt>
                <c:pt idx="961">
                  <c:v>37826.274085671001</c:v>
                </c:pt>
                <c:pt idx="962">
                  <c:v>38315.833140859999</c:v>
                </c:pt>
                <c:pt idx="963">
                  <c:v>38410.582396476006</c:v>
                </c:pt>
                <c:pt idx="964">
                  <c:v>39024.718895017999</c:v>
                </c:pt>
                <c:pt idx="965">
                  <c:v>38914.570930478003</c:v>
                </c:pt>
                <c:pt idx="966">
                  <c:v>38981.069907450998</c:v>
                </c:pt>
                <c:pt idx="967">
                  <c:v>39213.644907911999</c:v>
                </c:pt>
                <c:pt idx="968">
                  <c:v>38113.653032946997</c:v>
                </c:pt>
                <c:pt idx="969">
                  <c:v>38239.989240643001</c:v>
                </c:pt>
                <c:pt idx="970">
                  <c:v>38350.385548220998</c:v>
                </c:pt>
                <c:pt idx="971">
                  <c:v>37870.193651547001</c:v>
                </c:pt>
                <c:pt idx="972">
                  <c:v>37794.303856075006</c:v>
                </c:pt>
                <c:pt idx="973">
                  <c:v>38085.225383645004</c:v>
                </c:pt>
                <c:pt idx="974">
                  <c:v>38744.862046456998</c:v>
                </c:pt>
                <c:pt idx="975">
                  <c:v>38985.399519572005</c:v>
                </c:pt>
                <c:pt idx="976">
                  <c:v>38943.735004566995</c:v>
                </c:pt>
                <c:pt idx="977">
                  <c:v>39653.887546573998</c:v>
                </c:pt>
                <c:pt idx="978">
                  <c:v>40434.005244943997</c:v>
                </c:pt>
                <c:pt idx="979">
                  <c:v>40416.685895684001</c:v>
                </c:pt>
                <c:pt idx="980">
                  <c:v>40498.623096014002</c:v>
                </c:pt>
                <c:pt idx="981">
                  <c:v>40910.391595041001</c:v>
                </c:pt>
                <c:pt idx="982">
                  <c:v>40706.496600679005</c:v>
                </c:pt>
                <c:pt idx="983">
                  <c:v>41115.852320413003</c:v>
                </c:pt>
                <c:pt idx="984">
                  <c:v>41558.670652691006</c:v>
                </c:pt>
                <c:pt idx="985">
                  <c:v>41641.722544127995</c:v>
                </c:pt>
                <c:pt idx="986">
                  <c:v>41362.598764573006</c:v>
                </c:pt>
                <c:pt idx="987">
                  <c:v>41061.692393477999</c:v>
                </c:pt>
                <c:pt idx="988">
                  <c:v>41686.436073849996</c:v>
                </c:pt>
                <c:pt idx="989">
                  <c:v>42065.669228006998</c:v>
                </c:pt>
                <c:pt idx="990">
                  <c:v>41425.041497644997</c:v>
                </c:pt>
                <c:pt idx="991">
                  <c:v>41273.013106452003</c:v>
                </c:pt>
                <c:pt idx="992">
                  <c:v>40931.031032725004</c:v>
                </c:pt>
                <c:pt idx="993">
                  <c:v>40680.530846843001</c:v>
                </c:pt>
                <c:pt idx="994">
                  <c:v>40899.331630391003</c:v>
                </c:pt>
                <c:pt idx="995">
                  <c:v>41035.888909361005</c:v>
                </c:pt>
                <c:pt idx="996">
                  <c:v>40608.230602778996</c:v>
                </c:pt>
                <c:pt idx="997">
                  <c:v>40882.888953911999</c:v>
                </c:pt>
                <c:pt idx="998">
                  <c:v>40673.819452424003</c:v>
                </c:pt>
                <c:pt idx="999">
                  <c:v>40577.137700311003</c:v>
                </c:pt>
                <c:pt idx="1000">
                  <c:v>41313.351489666995</c:v>
                </c:pt>
                <c:pt idx="1001">
                  <c:v>41445.882962470998</c:v>
                </c:pt>
                <c:pt idx="1002">
                  <c:v>41476.565418117003</c:v>
                </c:pt>
                <c:pt idx="1003">
                  <c:v>41521.246855402002</c:v>
                </c:pt>
                <c:pt idx="1004">
                  <c:v>41784.327772908997</c:v>
                </c:pt>
                <c:pt idx="1005">
                  <c:v>41042.584493691007</c:v>
                </c:pt>
                <c:pt idx="1006">
                  <c:v>40616.624258226002</c:v>
                </c:pt>
                <c:pt idx="1007">
                  <c:v>40340.320995330003</c:v>
                </c:pt>
                <c:pt idx="1008">
                  <c:v>40304.063536632006</c:v>
                </c:pt>
                <c:pt idx="1009">
                  <c:v>40146.294787554005</c:v>
                </c:pt>
                <c:pt idx="1010">
                  <c:v>40475.178026034999</c:v>
                </c:pt>
                <c:pt idx="1011">
                  <c:v>40951.248428048006</c:v>
                </c:pt>
                <c:pt idx="1012">
                  <c:v>40839.042855744992</c:v>
                </c:pt>
                <c:pt idx="1013">
                  <c:v>41644.716526473007</c:v>
                </c:pt>
                <c:pt idx="1014">
                  <c:v>40898.362115420001</c:v>
                </c:pt>
                <c:pt idx="1015">
                  <c:v>41325.661064276996</c:v>
                </c:pt>
                <c:pt idx="1016">
                  <c:v>40429.849375373</c:v>
                </c:pt>
                <c:pt idx="1017">
                  <c:v>39882.982571030007</c:v>
                </c:pt>
                <c:pt idx="1018">
                  <c:v>39661.762670412994</c:v>
                </c:pt>
                <c:pt idx="1019">
                  <c:v>39137.134603578001</c:v>
                </c:pt>
                <c:pt idx="1020">
                  <c:v>38893.726921898</c:v>
                </c:pt>
                <c:pt idx="1021">
                  <c:v>38516.466844082002</c:v>
                </c:pt>
                <c:pt idx="1022">
                  <c:v>39690.184453942005</c:v>
                </c:pt>
                <c:pt idx="1023">
                  <c:v>39889.452633469002</c:v>
                </c:pt>
                <c:pt idx="1024">
                  <c:v>40691.043039364005</c:v>
                </c:pt>
                <c:pt idx="1025">
                  <c:v>41014.860237628011</c:v>
                </c:pt>
                <c:pt idx="1026">
                  <c:v>41236.002299152002</c:v>
                </c:pt>
                <c:pt idx="1027">
                  <c:v>41481.791166899005</c:v>
                </c:pt>
                <c:pt idx="1028">
                  <c:v>42002.030069815009</c:v>
                </c:pt>
                <c:pt idx="1029">
                  <c:v>41520.076479192998</c:v>
                </c:pt>
                <c:pt idx="1030">
                  <c:v>42324.514752439005</c:v>
                </c:pt>
                <c:pt idx="1031">
                  <c:v>42522.724999431004</c:v>
                </c:pt>
                <c:pt idx="1032">
                  <c:v>42347.488964486001</c:v>
                </c:pt>
                <c:pt idx="1033">
                  <c:v>43862.608396562006</c:v>
                </c:pt>
                <c:pt idx="1034">
                  <c:v>44829.701051498996</c:v>
                </c:pt>
                <c:pt idx="1035">
                  <c:v>44810.450425618008</c:v>
                </c:pt>
                <c:pt idx="1036">
                  <c:v>44562.025355469996</c:v>
                </c:pt>
                <c:pt idx="1037">
                  <c:v>45287.464010235999</c:v>
                </c:pt>
                <c:pt idx="1038">
                  <c:v>44516.909035168006</c:v>
                </c:pt>
                <c:pt idx="1039">
                  <c:v>44588.716693686001</c:v>
                </c:pt>
                <c:pt idx="1040">
                  <c:v>44796.297095974005</c:v>
                </c:pt>
                <c:pt idx="1041">
                  <c:v>45403.582215518007</c:v>
                </c:pt>
                <c:pt idx="1042">
                  <c:v>45249.20395766</c:v>
                </c:pt>
                <c:pt idx="1043">
                  <c:v>45472.274679601993</c:v>
                </c:pt>
                <c:pt idx="1044">
                  <c:v>45462.003350473002</c:v>
                </c:pt>
                <c:pt idx="1045">
                  <c:v>45650.194418415005</c:v>
                </c:pt>
                <c:pt idx="1046">
                  <c:v>45391.329076037997</c:v>
                </c:pt>
                <c:pt idx="1047">
                  <c:v>45387.008579315996</c:v>
                </c:pt>
                <c:pt idx="1048">
                  <c:v>44885.333287863999</c:v>
                </c:pt>
                <c:pt idx="1049">
                  <c:v>44898.551225937998</c:v>
                </c:pt>
                <c:pt idx="1050">
                  <c:v>45291.683739445994</c:v>
                </c:pt>
                <c:pt idx="1051">
                  <c:v>44707.022161609006</c:v>
                </c:pt>
                <c:pt idx="1052">
                  <c:v>44647.311058329004</c:v>
                </c:pt>
                <c:pt idx="1053">
                  <c:v>45115.661665571999</c:v>
                </c:pt>
                <c:pt idx="1054">
                  <c:v>44777.660838607997</c:v>
                </c:pt>
                <c:pt idx="1055">
                  <c:v>45345.733531405007</c:v>
                </c:pt>
                <c:pt idx="1056">
                  <c:v>44910.304999177999</c:v>
                </c:pt>
                <c:pt idx="1057">
                  <c:v>44844.047656759998</c:v>
                </c:pt>
                <c:pt idx="1058">
                  <c:v>44820.873970628003</c:v>
                </c:pt>
                <c:pt idx="1059">
                  <c:v>44284.115449965</c:v>
                </c:pt>
                <c:pt idx="1060">
                  <c:v>44308.408634510997</c:v>
                </c:pt>
                <c:pt idx="1061">
                  <c:v>44597.284180354996</c:v>
                </c:pt>
                <c:pt idx="1062">
                  <c:v>45846.896340918007</c:v>
                </c:pt>
                <c:pt idx="1063">
                  <c:v>45429.023714527008</c:v>
                </c:pt>
                <c:pt idx="1064">
                  <c:v>45577.721682604999</c:v>
                </c:pt>
                <c:pt idx="1065">
                  <c:v>45577.863263464009</c:v>
                </c:pt>
                <c:pt idx="1066">
                  <c:v>44862.053624749002</c:v>
                </c:pt>
                <c:pt idx="1067">
                  <c:v>44408.801670737994</c:v>
                </c:pt>
                <c:pt idx="1068">
                  <c:v>44532.014166563007</c:v>
                </c:pt>
                <c:pt idx="1069">
                  <c:v>44186.170206426999</c:v>
                </c:pt>
                <c:pt idx="1070">
                  <c:v>44390.619139635004</c:v>
                </c:pt>
                <c:pt idx="1071">
                  <c:v>44356.766850431006</c:v>
                </c:pt>
                <c:pt idx="1072">
                  <c:v>44426.428515543004</c:v>
                </c:pt>
                <c:pt idx="1073">
                  <c:v>43766.329442425005</c:v>
                </c:pt>
                <c:pt idx="1074">
                  <c:v>43935.078188882995</c:v>
                </c:pt>
                <c:pt idx="1075">
                  <c:v>43628.856703655001</c:v>
                </c:pt>
                <c:pt idx="1076">
                  <c:v>43248.312855639997</c:v>
                </c:pt>
                <c:pt idx="1077">
                  <c:v>43819.151267191999</c:v>
                </c:pt>
                <c:pt idx="1078">
                  <c:v>43718.816483659997</c:v>
                </c:pt>
                <c:pt idx="1079">
                  <c:v>43747.631756790004</c:v>
                </c:pt>
                <c:pt idx="1080">
                  <c:v>44034.321843721998</c:v>
                </c:pt>
                <c:pt idx="1081">
                  <c:v>44288.554072947998</c:v>
                </c:pt>
                <c:pt idx="1082">
                  <c:v>43601.798483811006</c:v>
                </c:pt>
                <c:pt idx="1083">
                  <c:v>43594.096791667995</c:v>
                </c:pt>
                <c:pt idx="1084">
                  <c:v>43766.528145167002</c:v>
                </c:pt>
                <c:pt idx="1085">
                  <c:v>44534.061091598</c:v>
                </c:pt>
                <c:pt idx="1086">
                  <c:v>45077.948693940001</c:v>
                </c:pt>
                <c:pt idx="1087">
                  <c:v>44994.843784454999</c:v>
                </c:pt>
                <c:pt idx="1088">
                  <c:v>45878.631338166</c:v>
                </c:pt>
                <c:pt idx="1089">
                  <c:v>46118.837271106997</c:v>
                </c:pt>
                <c:pt idx="1090">
                  <c:v>45119.152887523</c:v>
                </c:pt>
                <c:pt idx="1091">
                  <c:v>45423.812035148003</c:v>
                </c:pt>
                <c:pt idx="1092">
                  <c:v>45552.231932920004</c:v>
                </c:pt>
                <c:pt idx="1093">
                  <c:v>45808.768069925005</c:v>
                </c:pt>
                <c:pt idx="1094">
                  <c:v>46916.88009662</c:v>
                </c:pt>
                <c:pt idx="1095">
                  <c:v>46632.606851432</c:v>
                </c:pt>
                <c:pt idx="1096">
                  <c:v>46607.123514575003</c:v>
                </c:pt>
                <c:pt idx="1097">
                  <c:v>46866.402990189003</c:v>
                </c:pt>
                <c:pt idx="1098">
                  <c:v>48304.341847022006</c:v>
                </c:pt>
                <c:pt idx="1099">
                  <c:v>48013.335336306998</c:v>
                </c:pt>
                <c:pt idx="1100">
                  <c:v>47731.886881021994</c:v>
                </c:pt>
                <c:pt idx="1101">
                  <c:v>54108.235882392997</c:v>
                </c:pt>
                <c:pt idx="1102">
                  <c:v>54161.105026342004</c:v>
                </c:pt>
                <c:pt idx="1103">
                  <c:v>54401.664358582006</c:v>
                </c:pt>
                <c:pt idx="1104">
                  <c:v>54839.542963802007</c:v>
                </c:pt>
                <c:pt idx="1105">
                  <c:v>55270.551959722005</c:v>
                </c:pt>
                <c:pt idx="1106">
                  <c:v>55197.326500337011</c:v>
                </c:pt>
                <c:pt idx="1107">
                  <c:v>55605.573750406998</c:v>
                </c:pt>
                <c:pt idx="1108">
                  <c:v>55208.508320146</c:v>
                </c:pt>
                <c:pt idx="1109">
                  <c:v>55363.698826261003</c:v>
                </c:pt>
                <c:pt idx="1110">
                  <c:v>55576.812556277007</c:v>
                </c:pt>
                <c:pt idx="1111">
                  <c:v>55012.176725682999</c:v>
                </c:pt>
                <c:pt idx="1112">
                  <c:v>54646.212994419999</c:v>
                </c:pt>
                <c:pt idx="1113">
                  <c:v>54089.316738832</c:v>
                </c:pt>
                <c:pt idx="1114">
                  <c:v>53971.240932882996</c:v>
                </c:pt>
                <c:pt idx="1115">
                  <c:v>54191.340502965009</c:v>
                </c:pt>
                <c:pt idx="1116">
                  <c:v>54965.292913922051</c:v>
                </c:pt>
                <c:pt idx="1117">
                  <c:v>55553.793659758521</c:v>
                </c:pt>
                <c:pt idx="1118">
                  <c:v>55472.832431607705</c:v>
                </c:pt>
                <c:pt idx="1119">
                  <c:v>55315.965950219448</c:v>
                </c:pt>
                <c:pt idx="1120">
                  <c:v>56076.234149320488</c:v>
                </c:pt>
                <c:pt idx="1121">
                  <c:v>56266.890307091096</c:v>
                </c:pt>
                <c:pt idx="1122">
                  <c:v>56533.434038930587</c:v>
                </c:pt>
                <c:pt idx="1123">
                  <c:v>55795.619368547581</c:v>
                </c:pt>
                <c:pt idx="1124">
                  <c:v>56772.22155291331</c:v>
                </c:pt>
                <c:pt idx="1125">
                  <c:v>56284.298767281034</c:v>
                </c:pt>
                <c:pt idx="1126">
                  <c:v>56315.245861672076</c:v>
                </c:pt>
                <c:pt idx="1127">
                  <c:v>55963.617589543908</c:v>
                </c:pt>
                <c:pt idx="1128">
                  <c:v>56143.465424831942</c:v>
                </c:pt>
                <c:pt idx="1129">
                  <c:v>56125.467244189858</c:v>
                </c:pt>
                <c:pt idx="1130">
                  <c:v>56929.258300492489</c:v>
                </c:pt>
                <c:pt idx="1131">
                  <c:v>57107.156719855491</c:v>
                </c:pt>
                <c:pt idx="1132">
                  <c:v>57144.547690818697</c:v>
                </c:pt>
                <c:pt idx="1133">
                  <c:v>56895.570775917033</c:v>
                </c:pt>
                <c:pt idx="1134">
                  <c:v>56950.019527806035</c:v>
                </c:pt>
                <c:pt idx="1135">
                  <c:v>56702.529302619274</c:v>
                </c:pt>
                <c:pt idx="1136">
                  <c:v>56649.814588394329</c:v>
                </c:pt>
                <c:pt idx="1137">
                  <c:v>56424.031892192172</c:v>
                </c:pt>
                <c:pt idx="1138">
                  <c:v>56792.220092588846</c:v>
                </c:pt>
                <c:pt idx="1139">
                  <c:v>56544.571701657405</c:v>
                </c:pt>
                <c:pt idx="1140">
                  <c:v>56720.68873029064</c:v>
                </c:pt>
                <c:pt idx="1141">
                  <c:v>57519.869259306724</c:v>
                </c:pt>
                <c:pt idx="1142">
                  <c:v>57764.368560996387</c:v>
                </c:pt>
                <c:pt idx="1143">
                  <c:v>57713.607526368658</c:v>
                </c:pt>
                <c:pt idx="1144">
                  <c:v>57829.078027019787</c:v>
                </c:pt>
                <c:pt idx="1145">
                  <c:v>57690.438549058461</c:v>
                </c:pt>
                <c:pt idx="1146">
                  <c:v>57145.609513175361</c:v>
                </c:pt>
                <c:pt idx="1147">
                  <c:v>56641.959874668464</c:v>
                </c:pt>
                <c:pt idx="1148">
                  <c:v>56198.68456031369</c:v>
                </c:pt>
                <c:pt idx="1149">
                  <c:v>56913.798151377137</c:v>
                </c:pt>
                <c:pt idx="1150">
                  <c:v>56822.515899392609</c:v>
                </c:pt>
                <c:pt idx="1151">
                  <c:v>56696.360784996694</c:v>
                </c:pt>
                <c:pt idx="1152">
                  <c:v>57151.953869646437</c:v>
                </c:pt>
                <c:pt idx="1153">
                  <c:v>57136.18586940469</c:v>
                </c:pt>
                <c:pt idx="1154">
                  <c:v>57362.432864065595</c:v>
                </c:pt>
                <c:pt idx="1155">
                  <c:v>57112.621456168112</c:v>
                </c:pt>
                <c:pt idx="1156">
                  <c:v>57244.868902444068</c:v>
                </c:pt>
                <c:pt idx="1157">
                  <c:v>57171.533163746244</c:v>
                </c:pt>
                <c:pt idx="1158">
                  <c:v>60409.184196733542</c:v>
                </c:pt>
                <c:pt idx="1159">
                  <c:v>59822.626419002416</c:v>
                </c:pt>
                <c:pt idx="1160">
                  <c:v>60108.949563420196</c:v>
                </c:pt>
                <c:pt idx="1161">
                  <c:v>59659.574321846521</c:v>
                </c:pt>
                <c:pt idx="1162">
                  <c:v>58747.026322222948</c:v>
                </c:pt>
                <c:pt idx="1163">
                  <c:v>59073.112795967972</c:v>
                </c:pt>
                <c:pt idx="1164">
                  <c:v>59137.357049339917</c:v>
                </c:pt>
                <c:pt idx="1165">
                  <c:v>58759.060927668455</c:v>
                </c:pt>
                <c:pt idx="1166">
                  <c:v>58856.88536519168</c:v>
                </c:pt>
                <c:pt idx="1167">
                  <c:v>59081.106906081681</c:v>
                </c:pt>
                <c:pt idx="1168">
                  <c:v>59070.508392290554</c:v>
                </c:pt>
                <c:pt idx="1169">
                  <c:v>59023.547421507901</c:v>
                </c:pt>
                <c:pt idx="1170">
                  <c:v>59253.616645934308</c:v>
                </c:pt>
                <c:pt idx="1171">
                  <c:v>58762.320022934153</c:v>
                </c:pt>
                <c:pt idx="1172">
                  <c:v>58933.218794944594</c:v>
                </c:pt>
                <c:pt idx="1173">
                  <c:v>59953.773226574893</c:v>
                </c:pt>
                <c:pt idx="1174">
                  <c:v>60344.657166658893</c:v>
                </c:pt>
                <c:pt idx="1175">
                  <c:v>61212.308816399753</c:v>
                </c:pt>
                <c:pt idx="1176">
                  <c:v>61046.912236696109</c:v>
                </c:pt>
                <c:pt idx="1177">
                  <c:v>61580.376761598462</c:v>
                </c:pt>
                <c:pt idx="1178">
                  <c:v>61848.140754390144</c:v>
                </c:pt>
                <c:pt idx="1179">
                  <c:v>62081.026975469904</c:v>
                </c:pt>
                <c:pt idx="1180">
                  <c:v>63137.09423665511</c:v>
                </c:pt>
                <c:pt idx="1181">
                  <c:v>63967.299851612173</c:v>
                </c:pt>
                <c:pt idx="1182">
                  <c:v>64274.032512462276</c:v>
                </c:pt>
                <c:pt idx="1183">
                  <c:v>63748.675284904355</c:v>
                </c:pt>
                <c:pt idx="1184">
                  <c:v>64041.496162091593</c:v>
                </c:pt>
                <c:pt idx="1185">
                  <c:v>64241.852396866874</c:v>
                </c:pt>
                <c:pt idx="1186">
                  <c:v>63737.155853983211</c:v>
                </c:pt>
                <c:pt idx="1187">
                  <c:v>64213.984577846568</c:v>
                </c:pt>
                <c:pt idx="1188">
                  <c:v>63589.353480504476</c:v>
                </c:pt>
                <c:pt idx="1189">
                  <c:v>62901.861268066197</c:v>
                </c:pt>
                <c:pt idx="1190">
                  <c:v>62630.569439841966</c:v>
                </c:pt>
                <c:pt idx="1191">
                  <c:v>62225.916920002863</c:v>
                </c:pt>
                <c:pt idx="1192">
                  <c:v>62146.077221300504</c:v>
                </c:pt>
                <c:pt idx="1193">
                  <c:v>61954.094643184893</c:v>
                </c:pt>
                <c:pt idx="1194">
                  <c:v>61285.525847665514</c:v>
                </c:pt>
                <c:pt idx="1195">
                  <c:v>61637.284440823038</c:v>
                </c:pt>
                <c:pt idx="1196">
                  <c:v>61408.220230311526</c:v>
                </c:pt>
                <c:pt idx="1197">
                  <c:v>62011.747433436052</c:v>
                </c:pt>
                <c:pt idx="1198">
                  <c:v>60803.451669381146</c:v>
                </c:pt>
                <c:pt idx="1199">
                  <c:v>62167.916960695686</c:v>
                </c:pt>
                <c:pt idx="1200">
                  <c:v>61770.443436156522</c:v>
                </c:pt>
                <c:pt idx="1201">
                  <c:v>61507.794927388946</c:v>
                </c:pt>
                <c:pt idx="1202">
                  <c:v>61380.90849242104</c:v>
                </c:pt>
                <c:pt idx="1203">
                  <c:v>61896.845464946564</c:v>
                </c:pt>
                <c:pt idx="1204">
                  <c:v>62243.340458481573</c:v>
                </c:pt>
                <c:pt idx="1205">
                  <c:v>62305.134765270326</c:v>
                </c:pt>
                <c:pt idx="1206">
                  <c:v>62145.435834347889</c:v>
                </c:pt>
                <c:pt idx="1207">
                  <c:v>62627.991289005709</c:v>
                </c:pt>
                <c:pt idx="1208">
                  <c:v>62759.807061044688</c:v>
                </c:pt>
                <c:pt idx="1209">
                  <c:v>63523.632374161651</c:v>
                </c:pt>
                <c:pt idx="1210">
                  <c:v>64150.246947805259</c:v>
                </c:pt>
                <c:pt idx="1211">
                  <c:v>63822.650937131832</c:v>
                </c:pt>
                <c:pt idx="1212">
                  <c:v>63932.090126861272</c:v>
                </c:pt>
                <c:pt idx="1213">
                  <c:v>64776.21180322743</c:v>
                </c:pt>
                <c:pt idx="1214">
                  <c:v>64775.71169177501</c:v>
                </c:pt>
                <c:pt idx="1215">
                  <c:v>65411.065505807754</c:v>
                </c:pt>
                <c:pt idx="1216">
                  <c:v>66110.953483129881</c:v>
                </c:pt>
                <c:pt idx="1217">
                  <c:v>66299.309685539454</c:v>
                </c:pt>
                <c:pt idx="1218">
                  <c:v>66097.086852115928</c:v>
                </c:pt>
                <c:pt idx="1219">
                  <c:v>65773.219768475334</c:v>
                </c:pt>
                <c:pt idx="1220">
                  <c:v>64505.715003841484</c:v>
                </c:pt>
                <c:pt idx="1221">
                  <c:v>64681.484864518599</c:v>
                </c:pt>
                <c:pt idx="1222">
                  <c:v>64540.963982391811</c:v>
                </c:pt>
                <c:pt idx="1223">
                  <c:v>64734.552513617207</c:v>
                </c:pt>
                <c:pt idx="1224">
                  <c:v>64309.149172063349</c:v>
                </c:pt>
                <c:pt idx="1225">
                  <c:v>64071.694295004403</c:v>
                </c:pt>
                <c:pt idx="1226">
                  <c:v>63412.216313581026</c:v>
                </c:pt>
                <c:pt idx="1227">
                  <c:v>62977.738993657564</c:v>
                </c:pt>
                <c:pt idx="1228">
                  <c:v>62589.710370325105</c:v>
                </c:pt>
                <c:pt idx="1229">
                  <c:v>64279.152226875674</c:v>
                </c:pt>
                <c:pt idx="1230">
                  <c:v>64533.692184216714</c:v>
                </c:pt>
                <c:pt idx="1231">
                  <c:v>64301.213406616705</c:v>
                </c:pt>
                <c:pt idx="1232">
                  <c:v>64309.18831172261</c:v>
                </c:pt>
                <c:pt idx="1233">
                  <c:v>65160.754143860278</c:v>
                </c:pt>
                <c:pt idx="1234">
                  <c:v>65807.999491470866</c:v>
                </c:pt>
                <c:pt idx="1235">
                  <c:v>66718.981683131453</c:v>
                </c:pt>
                <c:pt idx="1236">
                  <c:v>66739.212413829126</c:v>
                </c:pt>
                <c:pt idx="1237">
                  <c:v>67079.641838452881</c:v>
                </c:pt>
                <c:pt idx="1238">
                  <c:v>67173.089561483779</c:v>
                </c:pt>
                <c:pt idx="1239">
                  <c:v>69117.369925400766</c:v>
                </c:pt>
                <c:pt idx="1240">
                  <c:v>68023.691263480505</c:v>
                </c:pt>
                <c:pt idx="1241">
                  <c:v>66954.662835629671</c:v>
                </c:pt>
                <c:pt idx="1242">
                  <c:v>66525.515065944288</c:v>
                </c:pt>
                <c:pt idx="1243">
                  <c:v>67187.763176545675</c:v>
                </c:pt>
                <c:pt idx="1244">
                  <c:v>67006.307995026596</c:v>
                </c:pt>
                <c:pt idx="1245">
                  <c:v>67569.023738224685</c:v>
                </c:pt>
                <c:pt idx="1246">
                  <c:v>68317.238014170274</c:v>
                </c:pt>
                <c:pt idx="1247">
                  <c:v>68150.035627946287</c:v>
                </c:pt>
                <c:pt idx="1248">
                  <c:v>68094.706624049199</c:v>
                </c:pt>
                <c:pt idx="1249">
                  <c:v>67991.399026253508</c:v>
                </c:pt>
                <c:pt idx="1250">
                  <c:v>68172.56101588934</c:v>
                </c:pt>
                <c:pt idx="1251">
                  <c:v>68596.776063063007</c:v>
                </c:pt>
                <c:pt idx="1252">
                  <c:v>69401.504897650506</c:v>
                </c:pt>
                <c:pt idx="1253">
                  <c:v>68655.559870193567</c:v>
                </c:pt>
                <c:pt idx="1254">
                  <c:v>70232.693612499439</c:v>
                </c:pt>
                <c:pt idx="1255">
                  <c:v>68319.261048494664</c:v>
                </c:pt>
                <c:pt idx="1256">
                  <c:v>67199.414108638506</c:v>
                </c:pt>
                <c:pt idx="1257">
                  <c:v>68201.002811966217</c:v>
                </c:pt>
                <c:pt idx="1258">
                  <c:v>68479.369552853226</c:v>
                </c:pt>
                <c:pt idx="1259">
                  <c:v>69269.538386127315</c:v>
                </c:pt>
                <c:pt idx="1260">
                  <c:v>68720.180569780379</c:v>
                </c:pt>
                <c:pt idx="1261">
                  <c:v>68843.764532928471</c:v>
                </c:pt>
                <c:pt idx="1262">
                  <c:v>69282.466904401852</c:v>
                </c:pt>
                <c:pt idx="1263">
                  <c:v>70046.50617790813</c:v>
                </c:pt>
                <c:pt idx="1264">
                  <c:v>71201.282409638559</c:v>
                </c:pt>
                <c:pt idx="1265">
                  <c:v>71290.0195344612</c:v>
                </c:pt>
                <c:pt idx="1266">
                  <c:v>72050.870698246566</c:v>
                </c:pt>
                <c:pt idx="1267">
                  <c:v>72187.457909196979</c:v>
                </c:pt>
                <c:pt idx="1268">
                  <c:v>72800.282296754274</c:v>
                </c:pt>
                <c:pt idx="1269">
                  <c:v>73485.333788049436</c:v>
                </c:pt>
                <c:pt idx="1270">
                  <c:v>73917.076313697558</c:v>
                </c:pt>
                <c:pt idx="1271">
                  <c:v>73223.678322731968</c:v>
                </c:pt>
                <c:pt idx="1272">
                  <c:v>73255.984247108456</c:v>
                </c:pt>
                <c:pt idx="1273">
                  <c:v>71777.064091604218</c:v>
                </c:pt>
                <c:pt idx="1274">
                  <c:v>69884.102906756525</c:v>
                </c:pt>
                <c:pt idx="1275">
                  <c:v>70359.509123054406</c:v>
                </c:pt>
                <c:pt idx="1276">
                  <c:v>70896.850644259466</c:v>
                </c:pt>
                <c:pt idx="1277">
                  <c:v>71446.286449292209</c:v>
                </c:pt>
                <c:pt idx="1278">
                  <c:v>71228.768614729241</c:v>
                </c:pt>
                <c:pt idx="1279">
                  <c:v>71039.64943773346</c:v>
                </c:pt>
                <c:pt idx="1280">
                  <c:v>71256.489496095397</c:v>
                </c:pt>
                <c:pt idx="1281">
                  <c:v>71161.807547059274</c:v>
                </c:pt>
                <c:pt idx="1282">
                  <c:v>71935.292467936713</c:v>
                </c:pt>
                <c:pt idx="1283">
                  <c:v>72034.610848946599</c:v>
                </c:pt>
                <c:pt idx="1284">
                  <c:v>73172.560906659113</c:v>
                </c:pt>
                <c:pt idx="1285">
                  <c:v>72529.78277549491</c:v>
                </c:pt>
                <c:pt idx="1286">
                  <c:v>73018.807671521427</c:v>
                </c:pt>
                <c:pt idx="1287">
                  <c:v>73192.076361169835</c:v>
                </c:pt>
                <c:pt idx="1288">
                  <c:v>73007.378775780904</c:v>
                </c:pt>
                <c:pt idx="1289">
                  <c:v>73557.166150239689</c:v>
                </c:pt>
                <c:pt idx="1290">
                  <c:v>73444.803962005331</c:v>
                </c:pt>
                <c:pt idx="1291">
                  <c:v>74025.675910383536</c:v>
                </c:pt>
                <c:pt idx="1292">
                  <c:v>74584.417619781176</c:v>
                </c:pt>
                <c:pt idx="1293">
                  <c:v>73863.394603478315</c:v>
                </c:pt>
                <c:pt idx="1294">
                  <c:v>73858.566029610753</c:v>
                </c:pt>
                <c:pt idx="1295">
                  <c:v>73941.154485996958</c:v>
                </c:pt>
                <c:pt idx="1296">
                  <c:v>73394.483251940925</c:v>
                </c:pt>
                <c:pt idx="1297">
                  <c:v>73214.411802513452</c:v>
                </c:pt>
                <c:pt idx="1298">
                  <c:v>74011.537249980101</c:v>
                </c:pt>
                <c:pt idx="1299">
                  <c:v>75032.110993462178</c:v>
                </c:pt>
                <c:pt idx="1300">
                  <c:v>74950.765218746441</c:v>
                </c:pt>
                <c:pt idx="1301">
                  <c:v>74168.085626081898</c:v>
                </c:pt>
                <c:pt idx="1302">
                  <c:v>74346.11587954167</c:v>
                </c:pt>
                <c:pt idx="1303">
                  <c:v>74126.06188922211</c:v>
                </c:pt>
                <c:pt idx="1304">
                  <c:v>74182.400261278905</c:v>
                </c:pt>
                <c:pt idx="1305">
                  <c:v>73829.643536622199</c:v>
                </c:pt>
                <c:pt idx="1306">
                  <c:v>72686.134903359954</c:v>
                </c:pt>
                <c:pt idx="1307">
                  <c:v>73648.553613868877</c:v>
                </c:pt>
                <c:pt idx="1308">
                  <c:v>73890.20083743945</c:v>
                </c:pt>
                <c:pt idx="1309">
                  <c:v>74234.964408862259</c:v>
                </c:pt>
                <c:pt idx="1310">
                  <c:v>74138.321639278263</c:v>
                </c:pt>
                <c:pt idx="1311">
                  <c:v>74455.026994856467</c:v>
                </c:pt>
                <c:pt idx="1312">
                  <c:v>74641.343103881081</c:v>
                </c:pt>
                <c:pt idx="1313">
                  <c:v>73991.622486585286</c:v>
                </c:pt>
                <c:pt idx="1314">
                  <c:v>73150.413219341324</c:v>
                </c:pt>
                <c:pt idx="1315">
                  <c:v>72938.479205639291</c:v>
                </c:pt>
                <c:pt idx="1316">
                  <c:v>74533.319344065763</c:v>
                </c:pt>
                <c:pt idx="1317">
                  <c:v>75410.501684011222</c:v>
                </c:pt>
                <c:pt idx="1318">
                  <c:v>75993.018564820188</c:v>
                </c:pt>
                <c:pt idx="1319">
                  <c:v>75759.001149994685</c:v>
                </c:pt>
                <c:pt idx="1320">
                  <c:v>76136.834755828226</c:v>
                </c:pt>
                <c:pt idx="1321">
                  <c:v>76531.793349204658</c:v>
                </c:pt>
                <c:pt idx="1322">
                  <c:v>75634.36275538418</c:v>
                </c:pt>
                <c:pt idx="1323">
                  <c:v>76111.598159714747</c:v>
                </c:pt>
                <c:pt idx="1324">
                  <c:v>76111.741187602413</c:v>
                </c:pt>
                <c:pt idx="1325">
                  <c:v>76728.240656923765</c:v>
                </c:pt>
                <c:pt idx="1326">
                  <c:v>76041.209642992064</c:v>
                </c:pt>
                <c:pt idx="1327">
                  <c:v>75089.522859289777</c:v>
                </c:pt>
                <c:pt idx="1328">
                  <c:v>74787.459503300095</c:v>
                </c:pt>
                <c:pt idx="1329">
                  <c:v>75671.982962704613</c:v>
                </c:pt>
                <c:pt idx="1330">
                  <c:v>76745.881895670886</c:v>
                </c:pt>
                <c:pt idx="1331">
                  <c:v>77537.112365372304</c:v>
                </c:pt>
                <c:pt idx="1332">
                  <c:v>77395.454125929522</c:v>
                </c:pt>
                <c:pt idx="1333">
                  <c:v>77565.078992773153</c:v>
                </c:pt>
                <c:pt idx="1334">
                  <c:v>76837.023965482033</c:v>
                </c:pt>
                <c:pt idx="1335">
                  <c:v>77691.048236043833</c:v>
                </c:pt>
                <c:pt idx="1336">
                  <c:v>78029.134924512764</c:v>
                </c:pt>
                <c:pt idx="1337">
                  <c:v>77950.499246002859</c:v>
                </c:pt>
                <c:pt idx="1338">
                  <c:v>78378.903045210973</c:v>
                </c:pt>
                <c:pt idx="1339">
                  <c:v>79036.755785876114</c:v>
                </c:pt>
                <c:pt idx="1340">
                  <c:v>78416.868241666394</c:v>
                </c:pt>
                <c:pt idx="1341">
                  <c:v>78013.617411176048</c:v>
                </c:pt>
                <c:pt idx="1342">
                  <c:v>78334.999924844422</c:v>
                </c:pt>
                <c:pt idx="1343">
                  <c:v>77618.656280419455</c:v>
                </c:pt>
                <c:pt idx="1344">
                  <c:v>77527.208858397193</c:v>
                </c:pt>
                <c:pt idx="1345">
                  <c:v>77523.511806439361</c:v>
                </c:pt>
                <c:pt idx="1346">
                  <c:v>82841.641030689003</c:v>
                </c:pt>
                <c:pt idx="1347">
                  <c:v>82845.890992163695</c:v>
                </c:pt>
                <c:pt idx="1348">
                  <c:v>83030.635369958327</c:v>
                </c:pt>
                <c:pt idx="1349">
                  <c:v>82811.711397200677</c:v>
                </c:pt>
                <c:pt idx="1350">
                  <c:v>82811.008978738508</c:v>
                </c:pt>
                <c:pt idx="1351">
                  <c:v>80733.690495828196</c:v>
                </c:pt>
                <c:pt idx="1352">
                  <c:v>78770.289483264365</c:v>
                </c:pt>
                <c:pt idx="1353">
                  <c:v>80476.125202974028</c:v>
                </c:pt>
                <c:pt idx="1354">
                  <c:v>81521.472791055203</c:v>
                </c:pt>
                <c:pt idx="1355">
                  <c:v>81515.771542371716</c:v>
                </c:pt>
                <c:pt idx="1356">
                  <c:v>81362.523042967019</c:v>
                </c:pt>
                <c:pt idx="1357">
                  <c:v>80988.136642073587</c:v>
                </c:pt>
                <c:pt idx="1358">
                  <c:v>80906.511128213373</c:v>
                </c:pt>
                <c:pt idx="1359">
                  <c:v>81011.153955063506</c:v>
                </c:pt>
                <c:pt idx="1360">
                  <c:v>81415.276699641719</c:v>
                </c:pt>
                <c:pt idx="1361">
                  <c:v>82041.534916965742</c:v>
                </c:pt>
                <c:pt idx="1362">
                  <c:v>81825.761324346386</c:v>
                </c:pt>
                <c:pt idx="1363">
                  <c:v>82072.422103571356</c:v>
                </c:pt>
                <c:pt idx="1364">
                  <c:v>81745.146805608776</c:v>
                </c:pt>
                <c:pt idx="1365">
                  <c:v>82117.084512626156</c:v>
                </c:pt>
                <c:pt idx="1366">
                  <c:v>81686.811669144532</c:v>
                </c:pt>
                <c:pt idx="1367">
                  <c:v>81771.195587026261</c:v>
                </c:pt>
                <c:pt idx="1368">
                  <c:v>82020.295627596046</c:v>
                </c:pt>
                <c:pt idx="1369">
                  <c:v>81806.37790885735</c:v>
                </c:pt>
                <c:pt idx="1370">
                  <c:v>81330.427637870162</c:v>
                </c:pt>
                <c:pt idx="1371">
                  <c:v>81575.024611534987</c:v>
                </c:pt>
                <c:pt idx="1372">
                  <c:v>81181.779297605477</c:v>
                </c:pt>
                <c:pt idx="1373">
                  <c:v>80587.026489592245</c:v>
                </c:pt>
                <c:pt idx="1374">
                  <c:v>80900.02999825131</c:v>
                </c:pt>
                <c:pt idx="1375">
                  <c:v>80627.445372257149</c:v>
                </c:pt>
                <c:pt idx="1376">
                  <c:v>80402.861627527396</c:v>
                </c:pt>
                <c:pt idx="1377">
                  <c:v>80252.39391404466</c:v>
                </c:pt>
                <c:pt idx="1378">
                  <c:v>80097.637911272381</c:v>
                </c:pt>
                <c:pt idx="1379">
                  <c:v>80110.56749910627</c:v>
                </c:pt>
                <c:pt idx="1380">
                  <c:v>80474.393139112071</c:v>
                </c:pt>
                <c:pt idx="1381">
                  <c:v>80058.904710297313</c:v>
                </c:pt>
                <c:pt idx="1382">
                  <c:v>80201.363041574514</c:v>
                </c:pt>
                <c:pt idx="1383">
                  <c:v>80244.502826732583</c:v>
                </c:pt>
                <c:pt idx="1384">
                  <c:v>80356.942420573716</c:v>
                </c:pt>
                <c:pt idx="1385">
                  <c:v>79492.175934705476</c:v>
                </c:pt>
                <c:pt idx="1386">
                  <c:v>78698.584311091428</c:v>
                </c:pt>
                <c:pt idx="1387">
                  <c:v>80076.672910274865</c:v>
                </c:pt>
                <c:pt idx="1388">
                  <c:v>79672.98839979386</c:v>
                </c:pt>
                <c:pt idx="1389">
                  <c:v>79431.549689211563</c:v>
                </c:pt>
                <c:pt idx="1390">
                  <c:v>78260.316776187057</c:v>
                </c:pt>
                <c:pt idx="1391">
                  <c:v>78442.630799013787</c:v>
                </c:pt>
                <c:pt idx="1392">
                  <c:v>77511.231481458264</c:v>
                </c:pt>
                <c:pt idx="1393">
                  <c:v>76107.258494543174</c:v>
                </c:pt>
                <c:pt idx="1394">
                  <c:v>77002.431757506609</c:v>
                </c:pt>
                <c:pt idx="1395">
                  <c:v>76938.707894850959</c:v>
                </c:pt>
                <c:pt idx="1396">
                  <c:v>76534.004425213207</c:v>
                </c:pt>
                <c:pt idx="1397">
                  <c:v>76155.179445455942</c:v>
                </c:pt>
                <c:pt idx="1398">
                  <c:v>75876.772999236928</c:v>
                </c:pt>
                <c:pt idx="1399">
                  <c:v>75528.397991018835</c:v>
                </c:pt>
                <c:pt idx="1400">
                  <c:v>77429.363795404002</c:v>
                </c:pt>
                <c:pt idx="1401">
                  <c:v>76933.770947780518</c:v>
                </c:pt>
                <c:pt idx="1402">
                  <c:v>76506.922520220469</c:v>
                </c:pt>
                <c:pt idx="1403">
                  <c:v>75134.945874154088</c:v>
                </c:pt>
                <c:pt idx="1404">
                  <c:v>76416.083947616236</c:v>
                </c:pt>
                <c:pt idx="1405">
                  <c:v>76816.837486818622</c:v>
                </c:pt>
                <c:pt idx="1406">
                  <c:v>78109.3874910343</c:v>
                </c:pt>
                <c:pt idx="1407">
                  <c:v>76809.508654176621</c:v>
                </c:pt>
                <c:pt idx="1408">
                  <c:v>76924.592579090284</c:v>
                </c:pt>
                <c:pt idx="1409">
                  <c:v>76624.264118685882</c:v>
                </c:pt>
                <c:pt idx="1410">
                  <c:v>76271.825399494352</c:v>
                </c:pt>
                <c:pt idx="1411">
                  <c:v>76773.045796086735</c:v>
                </c:pt>
                <c:pt idx="1412">
                  <c:v>77052.820511066791</c:v>
                </c:pt>
                <c:pt idx="1413">
                  <c:v>76888.430848732154</c:v>
                </c:pt>
                <c:pt idx="1414">
                  <c:v>76171.123163821147</c:v>
                </c:pt>
                <c:pt idx="1415">
                  <c:v>76032.861203656459</c:v>
                </c:pt>
                <c:pt idx="1416">
                  <c:v>75939.329242613152</c:v>
                </c:pt>
                <c:pt idx="1417">
                  <c:v>76292.912722764406</c:v>
                </c:pt>
                <c:pt idx="1418">
                  <c:v>77298.747677448511</c:v>
                </c:pt>
                <c:pt idx="1419">
                  <c:v>77399.033794355782</c:v>
                </c:pt>
                <c:pt idx="1420">
                  <c:v>77206.196227490233</c:v>
                </c:pt>
                <c:pt idx="1421">
                  <c:v>76915.644526327014</c:v>
                </c:pt>
                <c:pt idx="1422">
                  <c:v>77752.878151358469</c:v>
                </c:pt>
                <c:pt idx="1423">
                  <c:v>77014.55045462928</c:v>
                </c:pt>
                <c:pt idx="1424">
                  <c:v>76994.022353113163</c:v>
                </c:pt>
                <c:pt idx="1425">
                  <c:v>77020.276465746763</c:v>
                </c:pt>
                <c:pt idx="1426">
                  <c:v>77969.637448555484</c:v>
                </c:pt>
                <c:pt idx="1427">
                  <c:v>78328.694671751495</c:v>
                </c:pt>
                <c:pt idx="1428">
                  <c:v>77348.453420769554</c:v>
                </c:pt>
                <c:pt idx="1429">
                  <c:v>76488.432232922598</c:v>
                </c:pt>
                <c:pt idx="1430">
                  <c:v>76467.829899981822</c:v>
                </c:pt>
                <c:pt idx="1431">
                  <c:v>76647.246767451026</c:v>
                </c:pt>
                <c:pt idx="1432">
                  <c:v>76858.033991368749</c:v>
                </c:pt>
                <c:pt idx="1433">
                  <c:v>76396.62552068416</c:v>
                </c:pt>
                <c:pt idx="1434">
                  <c:v>76305.881676624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AC-458C-860F-0BA48093D9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89967072"/>
        <c:axId val="1185452624"/>
      </c:lineChart>
      <c:dateAx>
        <c:axId val="1089967072"/>
        <c:scaling>
          <c:orientation val="minMax"/>
          <c:min val="43462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85452624"/>
        <c:crosses val="autoZero"/>
        <c:auto val="1"/>
        <c:lblOffset val="100"/>
        <c:baseTimeUnit val="days"/>
        <c:majorUnit val="1"/>
        <c:majorTimeUnit val="years"/>
        <c:minorUnit val="1"/>
        <c:minorTimeUnit val="years"/>
      </c:dateAx>
      <c:valAx>
        <c:axId val="1185452624"/>
        <c:scaling>
          <c:orientation val="minMax"/>
        </c:scaling>
        <c:delete val="1"/>
        <c:axPos val="l"/>
        <c:numFmt formatCode="_(* #\ ##0_);_(* \(#\ ##0\);_(* &quot;-&quot;??_);_(@_)" sourceLinked="1"/>
        <c:majorTickMark val="none"/>
        <c:minorTickMark val="none"/>
        <c:tickLblPos val="nextTo"/>
        <c:crossAx val="108996707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K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DF5-4FE7-B198-13723E46BBC6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000000</c:v>
                </c:pt>
                <c:pt idx="1">
                  <c:v>49000000</c:v>
                </c:pt>
                <c:pt idx="2">
                  <c:v>59000000</c:v>
                </c:pt>
                <c:pt idx="3">
                  <c:v>311000000</c:v>
                </c:pt>
                <c:pt idx="4">
                  <c:v>173000000</c:v>
                </c:pt>
                <c:pt idx="5">
                  <c:v>582000000</c:v>
                </c:pt>
                <c:pt idx="6">
                  <c:v>12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CB-435F-BEA5-99F5658C12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26A6BD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2-13FC-47ED-97A0-FB1FBDF0D1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DF3-435F-BE35-355A98C26CF3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</c:v>
                </c:pt>
                <c:pt idx="1">
                  <c:v>48</c:v>
                </c:pt>
                <c:pt idx="2">
                  <c:v>34</c:v>
                </c:pt>
                <c:pt idx="3">
                  <c:v>94</c:v>
                </c:pt>
                <c:pt idx="4">
                  <c:v>67</c:v>
                </c:pt>
                <c:pt idx="5">
                  <c:v>130</c:v>
                </c:pt>
                <c:pt idx="6">
                  <c:v>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6D-43C4-A7F5-1811799FB10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82C6D8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26A6B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133-4D1C-A6AC-B95211813636}"/>
              </c:ext>
            </c:extLst>
          </c:dPt>
          <c:dLbls>
            <c:delete val="1"/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3-5133-4D1C-A6AC-B9521181363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stings</c:v>
                </c:pt>
              </c:strCache>
            </c:strRef>
          </c:tx>
          <c:spPr>
            <a:solidFill>
              <a:srgbClr val="008EA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6</c:v>
                </c:pt>
                <c:pt idx="1">
                  <c:v>12</c:v>
                </c:pt>
                <c:pt idx="2">
                  <c:v>18</c:v>
                </c:pt>
                <c:pt idx="3">
                  <c:v>24</c:v>
                </c:pt>
                <c:pt idx="4">
                  <c:v>24</c:v>
                </c:pt>
                <c:pt idx="5">
                  <c:v>19</c:v>
                </c:pt>
                <c:pt idx="6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43-454D-ADE1-61E40669CBC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ssuers</c:v>
                </c:pt>
              </c:strCache>
            </c:strRef>
          </c:tx>
          <c:spPr>
            <a:solidFill>
              <a:srgbClr val="00245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11М 2024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</c:v>
                </c:pt>
                <c:pt idx="1">
                  <c:v>8</c:v>
                </c:pt>
                <c:pt idx="2">
                  <c:v>13</c:v>
                </c:pt>
                <c:pt idx="3">
                  <c:v>18</c:v>
                </c:pt>
                <c:pt idx="4">
                  <c:v>18</c:v>
                </c:pt>
                <c:pt idx="5">
                  <c:v>16</c:v>
                </c:pt>
                <c:pt idx="6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43-454D-ADE1-61E40669CBC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59168640"/>
        <c:axId val="1110479008"/>
      </c:barChart>
      <c:catAx>
        <c:axId val="125916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Montserrat" panose="00000500000000000000" pitchFamily="2" charset="-52"/>
                <a:ea typeface="+mn-ea"/>
                <a:cs typeface="+mn-cs"/>
              </a:defRPr>
            </a:pPr>
            <a:endParaRPr lang="ru-KZ"/>
          </a:p>
        </c:txPr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9525" cap="rnd">
              <a:solidFill>
                <a:srgbClr val="9DC3E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C3E6"/>
              </a:solidFill>
              <a:ln w="9525">
                <a:solidFill>
                  <a:srgbClr val="9DC3E6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+6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CFC-47C9-8F9C-00FFE0C032A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+7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CFC-47C9-8F9C-00FFE0C032AC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0"/>
                  <a:lstStyle/>
                  <a:p>
                    <a:pPr algn="ctr">
                      <a:def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defRPr>
                    </a:pPr>
                    <a:r>
                      <a:rPr lang="en-US" sz="1100" b="0" i="0" u="none" strike="noStrike" kern="1200" baseline="0">
                        <a:solidFill>
                          <a:schemeClr val="tx1"/>
                        </a:solidFill>
                        <a:latin typeface="Montserrat" panose="00000500000000000000" pitchFamily="2" charset="-52"/>
                        <a:ea typeface="+mn-ea"/>
                        <a:cs typeface="+mn-cs"/>
                      </a:rPr>
                      <a:t>+8</a:t>
                    </a:r>
                  </a:p>
                </c:rich>
              </c:tx>
              <c:numFmt formatCode="#,##0.0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1100" b="0" i="0" u="none" strike="noStrike" kern="1200" baseline="0">
                      <a:solidFill>
                        <a:schemeClr val="tx1"/>
                      </a:solidFill>
                      <a:latin typeface="Montserrat" panose="00000500000000000000" pitchFamily="2" charset="-52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CFC-47C9-8F9C-00FFE0C032A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55290E38-E37B-4901-A4AD-59D1EE481788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CFC-47C9-8F9C-00FFE0C032A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17080167-BDF1-407D-AFDE-29CBCEB3E22E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CCFC-47C9-8F9C-00FFE0C032A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9D5B3996-7301-440F-BF3D-42CE9BAC904F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CFC-47C9-8F9C-00FFE0C032A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+</a:t>
                    </a:r>
                    <a:fld id="{BA2D2C3A-7B2E-4EF4-BB15-A94BBA5B7C79}" type="VALUE">
                      <a:rPr lang="en-US" smtClean="0"/>
                      <a:pPr/>
                      <a:t>[ЗНАЧЕНИЕ]</a:t>
                    </a:fld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CCFC-47C9-8F9C-00FFE0C032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Montserrat" panose="00000500000000000000" pitchFamily="2" charset="-52"/>
                    <a:ea typeface="+mn-ea"/>
                    <a:cs typeface="+mn-cs"/>
                  </a:defRPr>
                </a:pPr>
                <a:endParaRPr lang="ru-K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Sheet1!$B$2:$B$8</c:f>
              <c:numCache>
                <c:formatCode>0</c:formatCode>
                <c:ptCount val="7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 formatCode="General">
                  <c:v>8</c:v>
                </c:pt>
                <c:pt idx="4" formatCode="General">
                  <c:v>1</c:v>
                </c:pt>
                <c:pt idx="5" formatCode="General">
                  <c:v>7</c:v>
                </c:pt>
                <c:pt idx="6" formatCode="General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CFC-47C9-8F9C-00FFE0C032A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59168640"/>
        <c:axId val="1110479008"/>
      </c:lineChart>
      <c:catAx>
        <c:axId val="1259168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10479008"/>
        <c:crosses val="autoZero"/>
        <c:auto val="1"/>
        <c:lblAlgn val="ctr"/>
        <c:lblOffset val="100"/>
        <c:noMultiLvlLbl val="0"/>
      </c:catAx>
      <c:valAx>
        <c:axId val="1110479008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125916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Montserrat" panose="00000500000000000000" pitchFamily="2" charset="-52"/>
        </a:defRPr>
      </a:pPr>
      <a:endParaRPr lang="ru-K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163FCD-FEBC-4765-80DF-3A4710795399}" type="datetimeFigureOut">
              <a:rPr lang="en-US" smtClean="0"/>
              <a:t>1/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DB220F-CE1E-4FE0-AE7A-23801CC6B2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5866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DB220F-CE1E-4FE0-AE7A-23801CC6B2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00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568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0408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490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B78663-5ADC-B5B8-B910-63EA38A573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7EDE3E-1307-BFEA-C98D-42AADC67693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B3776A-FF90-E847-7428-ADFE57AA69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98FF03-15F1-B753-66BC-0064BD6823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6841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B220F-CE1E-4FE0-AE7A-23801CC6B26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258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6E5FB5-E2A1-486B-8AE0-673CCCE414E5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3911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8B4C6-3655-3D6F-32D0-BEDE0D7CDD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DE0958-3E55-7B87-38AB-4212E05C2C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D576B3-3B3B-8D42-6B71-11460828DE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28F06E-C499-4C4A-AEBD-3CF34891B2CB}" type="datetimeFigureOut">
              <a:rPr lang="en-US" smtClean="0"/>
              <a:t>1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DB4026-AD73-8C06-4AE9-BC4AF5A66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4D36A-FAE1-D6AD-04BA-5A85E10B2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C60FF0-CB54-489A-8041-AD8D5E18EB3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C2DCE9CB-D7E6-3CFE-F4E4-EE19C60A7FA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tx1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tx1"/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4330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19433-92C9-0BA7-9358-BD244F014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77045C8-3564-743C-1AC0-641E08879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BBE771-AA8B-A5BB-EF5E-751FE3C5A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61A8ECE-F74B-BE15-3539-B1B53A1DC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001512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178007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pic>
        <p:nvPicPr>
          <p:cNvPr id="5" name="Picture 14" descr="Picture 14">
            <a:extLst>
              <a:ext uri="{FF2B5EF4-FFF2-40B4-BE49-F238E27FC236}">
                <a16:creationId xmlns:a16="http://schemas.microsoft.com/office/drawing/2014/main" id="{DCD13E22-CB85-5FF6-8C87-9E79C7D05B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59079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BED979-79E2-E2B8-9DB1-F9F59CF91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FD1DEA-2E4C-B9C8-7369-DEDF543B0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1A67BEE-E4EE-8454-4D24-FB3E8FEC5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3D091BA-AFCD-DB9F-6BCA-30435A930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6F1CE97-BCA4-2376-75EE-02E4C4D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FDDCA0E-2EB3-5CFB-6863-ED81CEF22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008328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4F396D-A569-47EB-0D78-89BD70B67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EA70F9D-BFBB-A438-0711-8FFA4421EE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33474F-9A99-99D8-4D37-F608661548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2F1CFDE-291B-7815-CFD3-52D62E453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168075-CDA8-1A52-73D1-034066A11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5502137-1C3B-65B8-3064-B4E9F6706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72260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0353E0-50E1-6EE7-101A-C210BD286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022E042-4A1B-F69B-2B43-F9B30F80A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1CB594-57BB-6BDC-7833-103A816C6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134E42B-D172-C1E1-D1DA-4A2637C5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83320D-AA70-17CC-D995-CD9D53F4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9114692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51E9D57-7B31-EDA6-6479-2AF2EDDDD4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79A3E8-3186-FB05-7085-BAB42DCC6E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1B5A58D-D08A-8A99-2C36-E83AB5233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DAC4352-3172-1211-2B32-15F2C1714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CF25DE-F0EC-176E-416B-A8ED8E99D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42579752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A0C533-C6A7-DCE6-40BB-3064B5D857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E007B2-213A-B1B5-CCA4-6CE06D693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298A04-A8BB-734F-1187-80495A38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60EDCC-66AC-ECFE-DB5F-FB256CE1F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E64D70-C55A-C8F1-BC0C-1AAD75D43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6D759043-7941-9996-71B9-6CC19DDC0C8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tx1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tx1"/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5710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E7CBF6-64A6-5050-6EDA-5E387248B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678A62A-80F6-513C-DA50-E90F17EDD0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9962ED-2E2D-8CEF-419D-7E3A9EEA6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FFB3D19-99D0-97D0-F096-CDA31F925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5ED152-32F7-E193-36DE-158C6CED1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900760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F43BA2-5323-CBAE-B467-785B7DC8F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4D10943-C115-2AE9-2167-0422774587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C44796-6778-7C8F-04DF-3570779C1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ABE545-7658-4B1D-7758-99C4DA6F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2E666C-D02E-5C8B-DDE8-62CD8F5D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957244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12E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8">
            <a:extLst>
              <a:ext uri="{FF2B5EF4-FFF2-40B4-BE49-F238E27FC236}">
                <a16:creationId xmlns:a16="http://schemas.microsoft.com/office/drawing/2014/main" id="{C2DCE9CB-D7E6-3CFE-F4E4-EE19C60A7FA2}"/>
              </a:ext>
            </a:extLst>
          </p:cNvPr>
          <p:cNvSpPr txBox="1">
            <a:spLocks/>
          </p:cNvSpPr>
          <p:nvPr userDrawn="1"/>
        </p:nvSpPr>
        <p:spPr>
          <a:xfrm>
            <a:off x="10710045" y="6594011"/>
            <a:ext cx="1301311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chemeClr val="bg1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468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B46EE9-C206-40E6-211F-EE0D8D39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C2A116-73EE-DE60-C0EA-90204E0621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8AB7190-918E-D9A6-5D9B-4EC459F53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38B590-A198-1EA2-6552-FBD7DE17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E4B5E6-524D-3D60-C59E-6CE3C6EE5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382047-2520-3F49-C115-94FBFCB2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2551833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21952F-3CB7-A286-35FA-59C2509F8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E1BE5A-E9EF-6FD9-365D-24DFFEE2EE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F77396-4C72-EA8B-D05C-8D4734B496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1080872-E787-F120-7D18-30AE2B5DE4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52D8DD0-9030-BE73-E859-59B9354785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B5CE095-C263-6604-5D68-1D6918BF7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A2DB07C-A6A9-AFDE-0A85-DC4AEBE97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95EB520-E32B-D959-932C-57C9B8B3C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453208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D19433-92C9-0BA7-9358-BD244F014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77045C8-3564-743C-1AC0-641E08879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5BBE771-AA8B-A5BB-EF5E-751FE3C5A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61A8ECE-F74B-BE15-3539-B1B53A1DC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58539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844578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D0608B-A792-2716-664F-286D0520C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D98A9FAD-348D-D5B2-7EE1-6B0BEBBA4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E3E6BB8-D5AF-9558-9F6B-7DA688232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  <p:pic>
        <p:nvPicPr>
          <p:cNvPr id="5" name="Picture 14" descr="Picture 14">
            <a:extLst>
              <a:ext uri="{FF2B5EF4-FFF2-40B4-BE49-F238E27FC236}">
                <a16:creationId xmlns:a16="http://schemas.microsoft.com/office/drawing/2014/main" id="{DCD13E22-CB85-5FF6-8C87-9E79C7D05B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728701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BED979-79E2-E2B8-9DB1-F9F59CF91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4FD1DEA-2E4C-B9C8-7369-DEDF543B0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1A67BEE-E4EE-8454-4D24-FB3E8FEC59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3D091BA-AFCD-DB9F-6BCA-30435A930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6F1CE97-BCA4-2376-75EE-02E4C4D0E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FDDCA0E-2EB3-5CFB-6863-ED81CEF22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42278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24F396D-A569-47EB-0D78-89BD70B67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EA70F9D-BFBB-A438-0711-8FFA4421EE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KZ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733474F-9A99-99D8-4D37-F608661548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2F1CFDE-291B-7815-CFD3-52D62E4533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168075-CDA8-1A52-73D1-034066A11E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5502137-1C3B-65B8-3064-B4E9F6706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6589862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0353E0-50E1-6EE7-101A-C210BD286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022E042-4A1B-F69B-2B43-F9B30F80A4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1CB594-57BB-6BDC-7833-103A816C69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134E42B-D172-C1E1-D1DA-4A2637C57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83320D-AA70-17CC-D995-CD9D53F4F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5494148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51E9D57-7B31-EDA6-6479-2AF2EDDDD4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B79A3E8-3186-FB05-7085-BAB42DCC6E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1B5A58D-D08A-8A99-2C36-E83AB5233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DAC4352-3172-1211-2B32-15F2C1714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CF25DE-F0EC-176E-416B-A8ED8E99D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0022018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012E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059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RONT COVER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14" descr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40" name="Freeform 5"/>
          <p:cNvSpPr/>
          <p:nvPr/>
        </p:nvSpPr>
        <p:spPr>
          <a:xfrm>
            <a:off x="7440612" y="4762"/>
            <a:ext cx="4751388" cy="6862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66" y="0"/>
                </a:moveTo>
                <a:cubicBezTo>
                  <a:pt x="7621" y="516"/>
                  <a:pt x="6453" y="1138"/>
                  <a:pt x="5400" y="1866"/>
                </a:cubicBezTo>
                <a:cubicBezTo>
                  <a:pt x="1915" y="4249"/>
                  <a:pt x="0" y="7425"/>
                  <a:pt x="0" y="10800"/>
                </a:cubicBezTo>
                <a:cubicBezTo>
                  <a:pt x="0" y="14175"/>
                  <a:pt x="1915" y="17351"/>
                  <a:pt x="5400" y="19734"/>
                </a:cubicBezTo>
                <a:cubicBezTo>
                  <a:pt x="6453" y="20462"/>
                  <a:pt x="7621" y="21084"/>
                  <a:pt x="8846" y="21600"/>
                </a:cubicBezTo>
                <a:cubicBezTo>
                  <a:pt x="15338" y="21600"/>
                  <a:pt x="15338" y="21600"/>
                  <a:pt x="15338" y="21600"/>
                </a:cubicBezTo>
                <a:cubicBezTo>
                  <a:pt x="15950" y="19932"/>
                  <a:pt x="15951" y="19932"/>
                  <a:pt x="15951" y="19932"/>
                </a:cubicBezTo>
                <a:cubicBezTo>
                  <a:pt x="16755" y="20038"/>
                  <a:pt x="17578" y="20091"/>
                  <a:pt x="18421" y="20091"/>
                </a:cubicBezTo>
                <a:cubicBezTo>
                  <a:pt x="19532" y="20091"/>
                  <a:pt x="20585" y="19999"/>
                  <a:pt x="21600" y="19840"/>
                </a:cubicBezTo>
                <a:lnTo>
                  <a:pt x="21600" y="18344"/>
                </a:lnTo>
                <a:cubicBezTo>
                  <a:pt x="20604" y="18542"/>
                  <a:pt x="19532" y="18648"/>
                  <a:pt x="18421" y="18648"/>
                </a:cubicBezTo>
                <a:cubicBezTo>
                  <a:pt x="12121" y="18648"/>
                  <a:pt x="6990" y="15128"/>
                  <a:pt x="6990" y="10800"/>
                </a:cubicBezTo>
                <a:cubicBezTo>
                  <a:pt x="6990" y="6472"/>
                  <a:pt x="12121" y="2952"/>
                  <a:pt x="18421" y="2952"/>
                </a:cubicBezTo>
                <a:cubicBezTo>
                  <a:pt x="19532" y="2952"/>
                  <a:pt x="20604" y="3057"/>
                  <a:pt x="21600" y="3269"/>
                </a:cubicBezTo>
                <a:cubicBezTo>
                  <a:pt x="21600" y="1760"/>
                  <a:pt x="21600" y="1760"/>
                  <a:pt x="21600" y="1760"/>
                </a:cubicBezTo>
                <a:cubicBezTo>
                  <a:pt x="20585" y="1601"/>
                  <a:pt x="19532" y="1509"/>
                  <a:pt x="18421" y="1509"/>
                </a:cubicBezTo>
                <a:cubicBezTo>
                  <a:pt x="17598" y="1509"/>
                  <a:pt x="16775" y="1562"/>
                  <a:pt x="15971" y="1668"/>
                </a:cubicBezTo>
                <a:cubicBezTo>
                  <a:pt x="15358" y="0"/>
                  <a:pt x="15357" y="0"/>
                  <a:pt x="15357" y="0"/>
                </a:cubicBezTo>
                <a:cubicBezTo>
                  <a:pt x="8866" y="0"/>
                  <a:pt x="8866" y="0"/>
                  <a:pt x="8866" y="0"/>
                </a:cubicBezTo>
                <a:close/>
                <a:moveTo>
                  <a:pt x="13194" y="199"/>
                </a:moveTo>
                <a:cubicBezTo>
                  <a:pt x="13884" y="2052"/>
                  <a:pt x="13883" y="2051"/>
                  <a:pt x="13883" y="2051"/>
                </a:cubicBezTo>
                <a:cubicBezTo>
                  <a:pt x="8962" y="3256"/>
                  <a:pt x="5362" y="6353"/>
                  <a:pt x="4922" y="10046"/>
                </a:cubicBezTo>
                <a:cubicBezTo>
                  <a:pt x="2145" y="10046"/>
                  <a:pt x="2145" y="10046"/>
                  <a:pt x="2145" y="10046"/>
                </a:cubicBezTo>
                <a:cubicBezTo>
                  <a:pt x="2586" y="5466"/>
                  <a:pt x="7086" y="1615"/>
                  <a:pt x="13194" y="199"/>
                </a:cubicBezTo>
                <a:close/>
                <a:moveTo>
                  <a:pt x="18403" y="6068"/>
                </a:moveTo>
                <a:cubicBezTo>
                  <a:pt x="14631" y="6068"/>
                  <a:pt x="11547" y="8186"/>
                  <a:pt x="11547" y="10794"/>
                </a:cubicBezTo>
                <a:cubicBezTo>
                  <a:pt x="11547" y="13414"/>
                  <a:pt x="14631" y="15532"/>
                  <a:pt x="18403" y="15532"/>
                </a:cubicBezTo>
                <a:cubicBezTo>
                  <a:pt x="19552" y="15532"/>
                  <a:pt x="20643" y="15334"/>
                  <a:pt x="21600" y="14990"/>
                </a:cubicBezTo>
                <a:cubicBezTo>
                  <a:pt x="21600" y="13243"/>
                  <a:pt x="21600" y="13242"/>
                  <a:pt x="21600" y="13242"/>
                </a:cubicBezTo>
                <a:cubicBezTo>
                  <a:pt x="20757" y="13771"/>
                  <a:pt x="19628" y="14089"/>
                  <a:pt x="18403" y="14089"/>
                </a:cubicBezTo>
                <a:cubicBezTo>
                  <a:pt x="15780" y="14089"/>
                  <a:pt x="13634" y="12607"/>
                  <a:pt x="13634" y="10794"/>
                </a:cubicBezTo>
                <a:cubicBezTo>
                  <a:pt x="13634" y="8994"/>
                  <a:pt x="15780" y="7511"/>
                  <a:pt x="18403" y="7511"/>
                </a:cubicBezTo>
                <a:cubicBezTo>
                  <a:pt x="19628" y="7511"/>
                  <a:pt x="20757" y="7829"/>
                  <a:pt x="21600" y="8358"/>
                </a:cubicBezTo>
                <a:cubicBezTo>
                  <a:pt x="21600" y="6611"/>
                  <a:pt x="21600" y="6610"/>
                  <a:pt x="21600" y="6610"/>
                </a:cubicBezTo>
                <a:cubicBezTo>
                  <a:pt x="20643" y="6266"/>
                  <a:pt x="19552" y="6068"/>
                  <a:pt x="18403" y="6068"/>
                </a:cubicBezTo>
                <a:close/>
                <a:moveTo>
                  <a:pt x="2145" y="11541"/>
                </a:moveTo>
                <a:cubicBezTo>
                  <a:pt x="4922" y="11541"/>
                  <a:pt x="4922" y="11541"/>
                  <a:pt x="4922" y="11541"/>
                </a:cubicBezTo>
                <a:cubicBezTo>
                  <a:pt x="5343" y="15233"/>
                  <a:pt x="8943" y="18331"/>
                  <a:pt x="13846" y="19549"/>
                </a:cubicBezTo>
                <a:lnTo>
                  <a:pt x="13174" y="21401"/>
                </a:lnTo>
                <a:cubicBezTo>
                  <a:pt x="7066" y="19972"/>
                  <a:pt x="2586" y="16120"/>
                  <a:pt x="2145" y="11541"/>
                </a:cubicBezTo>
                <a:close/>
              </a:path>
            </a:pathLst>
          </a:custGeom>
          <a:solidFill>
            <a:srgbClr val="338592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51709" y="1031834"/>
            <a:ext cx="6941826" cy="20034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 b="1">
                <a:solidFill>
                  <a:srgbClr val="FFFFFF"/>
                </a:solidFill>
              </a:defRPr>
            </a:lvl1pPr>
            <a:lvl2pPr marL="876300" indent="-4191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2pPr>
            <a:lvl3pPr marL="1051560" indent="-13716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3pPr>
            <a:lvl4pPr marL="1524000" indent="-1524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4pPr>
            <a:lvl5pPr marL="1981200" indent="-152400">
              <a:lnSpc>
                <a:spcPct val="100000"/>
              </a:lnSpc>
              <a:spcBef>
                <a:spcPts val="0"/>
              </a:spcBef>
              <a:buFontTx/>
              <a:defRPr sz="1200" b="1"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4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51709" y="3289151"/>
            <a:ext cx="6941826" cy="2003426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</a:defRPr>
            </a:pPr>
            <a:r>
              <a:rPr lang="ru-RU"/>
              <a:t>Образец текста</a:t>
            </a:r>
          </a:p>
        </p:txBody>
      </p:sp>
      <p:grpSp>
        <p:nvGrpSpPr>
          <p:cNvPr id="50" name="Group 4"/>
          <p:cNvGrpSpPr/>
          <p:nvPr/>
        </p:nvGrpSpPr>
        <p:grpSpPr>
          <a:xfrm>
            <a:off x="604152" y="5766351"/>
            <a:ext cx="1545092" cy="510072"/>
            <a:chOff x="0" y="0"/>
            <a:chExt cx="1545091" cy="510070"/>
          </a:xfrm>
        </p:grpSpPr>
        <p:sp>
          <p:nvSpPr>
            <p:cNvPr id="44" name="Freeform 5"/>
            <p:cNvSpPr/>
            <p:nvPr/>
          </p:nvSpPr>
          <p:spPr>
            <a:xfrm>
              <a:off x="538440" y="91162"/>
              <a:ext cx="325147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07" y="21600"/>
                  </a:moveTo>
                  <a:lnTo>
                    <a:pt x="15379" y="17636"/>
                  </a:lnTo>
                  <a:lnTo>
                    <a:pt x="6221" y="17636"/>
                  </a:lnTo>
                  <a:lnTo>
                    <a:pt x="4435" y="21600"/>
                  </a:lnTo>
                  <a:lnTo>
                    <a:pt x="0" y="21600"/>
                  </a:lnTo>
                  <a:lnTo>
                    <a:pt x="10483" y="0"/>
                  </a:lnTo>
                  <a:lnTo>
                    <a:pt x="11059" y="0"/>
                  </a:lnTo>
                  <a:lnTo>
                    <a:pt x="21600" y="21600"/>
                  </a:lnTo>
                  <a:lnTo>
                    <a:pt x="17107" y="21600"/>
                  </a:lnTo>
                  <a:close/>
                  <a:moveTo>
                    <a:pt x="7488" y="14591"/>
                  </a:moveTo>
                  <a:lnTo>
                    <a:pt x="14054" y="14591"/>
                  </a:lnTo>
                  <a:lnTo>
                    <a:pt x="10771" y="7411"/>
                  </a:lnTo>
                  <a:lnTo>
                    <a:pt x="7488" y="1459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5" name="Rectangle 6"/>
            <p:cNvSpPr/>
            <p:nvPr/>
          </p:nvSpPr>
          <p:spPr>
            <a:xfrm>
              <a:off x="912141" y="99832"/>
              <a:ext cx="63295" cy="31734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6" name="Freeform 7"/>
            <p:cNvSpPr/>
            <p:nvPr/>
          </p:nvSpPr>
          <p:spPr>
            <a:xfrm>
              <a:off x="1056939" y="99832"/>
              <a:ext cx="176013" cy="317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67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423"/>
                  </a:lnTo>
                  <a:lnTo>
                    <a:pt x="7767" y="3423"/>
                  </a:lnTo>
                  <a:lnTo>
                    <a:pt x="7767" y="8144"/>
                  </a:lnTo>
                  <a:lnTo>
                    <a:pt x="17344" y="8144"/>
                  </a:lnTo>
                  <a:lnTo>
                    <a:pt x="17344" y="11508"/>
                  </a:lnTo>
                  <a:lnTo>
                    <a:pt x="7767" y="11508"/>
                  </a:lnTo>
                  <a:lnTo>
                    <a:pt x="7767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7" name="Freeform 8"/>
            <p:cNvSpPr/>
            <p:nvPr/>
          </p:nvSpPr>
          <p:spPr>
            <a:xfrm>
              <a:off x="1262431" y="95497"/>
              <a:ext cx="282661" cy="3251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32"/>
                  </a:moveTo>
                  <a:cubicBezTo>
                    <a:pt x="0" y="4279"/>
                    <a:pt x="5069" y="0"/>
                    <a:pt x="12710" y="0"/>
                  </a:cubicBezTo>
                  <a:cubicBezTo>
                    <a:pt x="15440" y="0"/>
                    <a:pt x="18793" y="815"/>
                    <a:pt x="20664" y="1970"/>
                  </a:cubicBezTo>
                  <a:cubicBezTo>
                    <a:pt x="20274" y="5570"/>
                    <a:pt x="20274" y="5570"/>
                    <a:pt x="20274" y="5570"/>
                  </a:cubicBezTo>
                  <a:cubicBezTo>
                    <a:pt x="18325" y="4279"/>
                    <a:pt x="15284" y="3396"/>
                    <a:pt x="12944" y="3396"/>
                  </a:cubicBezTo>
                  <a:cubicBezTo>
                    <a:pt x="8188" y="3396"/>
                    <a:pt x="4991" y="6385"/>
                    <a:pt x="4991" y="10732"/>
                  </a:cubicBezTo>
                  <a:cubicBezTo>
                    <a:pt x="4991" y="15147"/>
                    <a:pt x="8188" y="18204"/>
                    <a:pt x="12944" y="18204"/>
                  </a:cubicBezTo>
                  <a:cubicBezTo>
                    <a:pt x="15830" y="18204"/>
                    <a:pt x="18325" y="17117"/>
                    <a:pt x="19729" y="16030"/>
                  </a:cubicBezTo>
                  <a:cubicBezTo>
                    <a:pt x="21600" y="19087"/>
                    <a:pt x="21600" y="19087"/>
                    <a:pt x="21600" y="19087"/>
                  </a:cubicBezTo>
                  <a:cubicBezTo>
                    <a:pt x="18949" y="20717"/>
                    <a:pt x="16064" y="21600"/>
                    <a:pt x="12710" y="21600"/>
                  </a:cubicBezTo>
                  <a:cubicBezTo>
                    <a:pt x="5069" y="21600"/>
                    <a:pt x="0" y="17253"/>
                    <a:pt x="0" y="1073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8" name="Freeform 9"/>
            <p:cNvSpPr/>
            <p:nvPr/>
          </p:nvSpPr>
          <p:spPr>
            <a:xfrm>
              <a:off x="156069" y="154457"/>
              <a:ext cx="192487" cy="1942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57"/>
                  </a:moveTo>
                  <a:cubicBezTo>
                    <a:pt x="0" y="16800"/>
                    <a:pt x="4800" y="21600"/>
                    <a:pt x="10743" y="21600"/>
                  </a:cubicBezTo>
                  <a:cubicBezTo>
                    <a:pt x="16686" y="21600"/>
                    <a:pt x="21600" y="16800"/>
                    <a:pt x="21600" y="10857"/>
                  </a:cubicBezTo>
                  <a:cubicBezTo>
                    <a:pt x="21600" y="4914"/>
                    <a:pt x="16686" y="0"/>
                    <a:pt x="10743" y="0"/>
                  </a:cubicBezTo>
                  <a:cubicBezTo>
                    <a:pt x="4800" y="0"/>
                    <a:pt x="0" y="4914"/>
                    <a:pt x="0" y="10857"/>
                  </a:cubicBezTo>
                  <a:close/>
                  <a:moveTo>
                    <a:pt x="18400" y="10857"/>
                  </a:moveTo>
                  <a:cubicBezTo>
                    <a:pt x="18400" y="15086"/>
                    <a:pt x="14971" y="18514"/>
                    <a:pt x="10743" y="18514"/>
                  </a:cubicBezTo>
                  <a:cubicBezTo>
                    <a:pt x="6514" y="18514"/>
                    <a:pt x="3086" y="15086"/>
                    <a:pt x="3086" y="10857"/>
                  </a:cubicBezTo>
                  <a:cubicBezTo>
                    <a:pt x="3086" y="6629"/>
                    <a:pt x="6514" y="3200"/>
                    <a:pt x="10743" y="3200"/>
                  </a:cubicBezTo>
                  <a:cubicBezTo>
                    <a:pt x="14971" y="3200"/>
                    <a:pt x="18400" y="6629"/>
                    <a:pt x="18400" y="108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9" name="Freeform 10"/>
            <p:cNvSpPr/>
            <p:nvPr/>
          </p:nvSpPr>
          <p:spPr>
            <a:xfrm>
              <a:off x="0" y="0"/>
              <a:ext cx="440464" cy="510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08" extrusionOk="0">
                  <a:moveTo>
                    <a:pt x="17700" y="14916"/>
                  </a:moveTo>
                  <a:cubicBezTo>
                    <a:pt x="17700" y="14916"/>
                    <a:pt x="17650" y="14916"/>
                    <a:pt x="17650" y="14959"/>
                  </a:cubicBezTo>
                  <a:cubicBezTo>
                    <a:pt x="17650" y="14959"/>
                    <a:pt x="17650" y="14959"/>
                    <a:pt x="17650" y="14959"/>
                  </a:cubicBezTo>
                  <a:cubicBezTo>
                    <a:pt x="16300" y="16102"/>
                    <a:pt x="14400" y="16780"/>
                    <a:pt x="12350" y="16780"/>
                  </a:cubicBezTo>
                  <a:cubicBezTo>
                    <a:pt x="9150" y="16780"/>
                    <a:pt x="6450" y="15086"/>
                    <a:pt x="5350" y="12672"/>
                  </a:cubicBezTo>
                  <a:cubicBezTo>
                    <a:pt x="5350" y="12672"/>
                    <a:pt x="5350" y="12629"/>
                    <a:pt x="5350" y="12629"/>
                  </a:cubicBezTo>
                  <a:cubicBezTo>
                    <a:pt x="5300" y="12587"/>
                    <a:pt x="5300" y="12545"/>
                    <a:pt x="5300" y="12545"/>
                  </a:cubicBezTo>
                  <a:cubicBezTo>
                    <a:pt x="4400" y="10342"/>
                    <a:pt x="4950" y="7801"/>
                    <a:pt x="7050" y="6022"/>
                  </a:cubicBezTo>
                  <a:cubicBezTo>
                    <a:pt x="7000" y="6022"/>
                    <a:pt x="7000" y="6022"/>
                    <a:pt x="7000" y="6022"/>
                  </a:cubicBezTo>
                  <a:cubicBezTo>
                    <a:pt x="7750" y="5387"/>
                    <a:pt x="8700" y="4879"/>
                    <a:pt x="9700" y="4540"/>
                  </a:cubicBezTo>
                  <a:cubicBezTo>
                    <a:pt x="9700" y="4540"/>
                    <a:pt x="9700" y="4540"/>
                    <a:pt x="9700" y="4540"/>
                  </a:cubicBezTo>
                  <a:cubicBezTo>
                    <a:pt x="12350" y="3693"/>
                    <a:pt x="15450" y="4159"/>
                    <a:pt x="17600" y="5938"/>
                  </a:cubicBezTo>
                  <a:cubicBezTo>
                    <a:pt x="18150" y="6361"/>
                    <a:pt x="18150" y="6361"/>
                    <a:pt x="18150" y="6361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1600" y="3396"/>
                    <a:pt x="21600" y="3396"/>
                    <a:pt x="21600" y="3396"/>
                  </a:cubicBezTo>
                  <a:cubicBezTo>
                    <a:pt x="21450" y="3269"/>
                    <a:pt x="21350" y="3142"/>
                    <a:pt x="21200" y="3015"/>
                  </a:cubicBezTo>
                  <a:cubicBezTo>
                    <a:pt x="18450" y="770"/>
                    <a:pt x="14850" y="-246"/>
                    <a:pt x="11300" y="50"/>
                  </a:cubicBezTo>
                  <a:cubicBezTo>
                    <a:pt x="8450" y="262"/>
                    <a:pt x="5700" y="1321"/>
                    <a:pt x="3550" y="3142"/>
                  </a:cubicBezTo>
                  <a:cubicBezTo>
                    <a:pt x="1400" y="5006"/>
                    <a:pt x="250" y="7378"/>
                    <a:pt x="50" y="9792"/>
                  </a:cubicBezTo>
                  <a:cubicBezTo>
                    <a:pt x="0" y="9792"/>
                    <a:pt x="0" y="9792"/>
                    <a:pt x="0" y="9792"/>
                  </a:cubicBezTo>
                  <a:cubicBezTo>
                    <a:pt x="0" y="10130"/>
                    <a:pt x="0" y="10130"/>
                    <a:pt x="0" y="10130"/>
                  </a:cubicBezTo>
                  <a:cubicBezTo>
                    <a:pt x="0" y="10469"/>
                    <a:pt x="0" y="10469"/>
                    <a:pt x="0" y="10469"/>
                  </a:cubicBezTo>
                  <a:cubicBezTo>
                    <a:pt x="0" y="10766"/>
                    <a:pt x="0" y="10766"/>
                    <a:pt x="0" y="10766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150" y="13603"/>
                    <a:pt x="1400" y="16145"/>
                    <a:pt x="3750" y="18093"/>
                  </a:cubicBezTo>
                  <a:cubicBezTo>
                    <a:pt x="6450" y="20338"/>
                    <a:pt x="10100" y="21354"/>
                    <a:pt x="13600" y="21058"/>
                  </a:cubicBezTo>
                  <a:cubicBezTo>
                    <a:pt x="16450" y="20846"/>
                    <a:pt x="19200" y="19787"/>
                    <a:pt x="21350" y="17966"/>
                  </a:cubicBezTo>
                  <a:cubicBezTo>
                    <a:pt x="18750" y="15763"/>
                    <a:pt x="18750" y="15763"/>
                    <a:pt x="18750" y="15763"/>
                  </a:cubicBezTo>
                  <a:lnTo>
                    <a:pt x="17700" y="14916"/>
                  </a:lnTo>
                  <a:close/>
                  <a:moveTo>
                    <a:pt x="11450" y="1363"/>
                  </a:moveTo>
                  <a:cubicBezTo>
                    <a:pt x="11450" y="1363"/>
                    <a:pt x="11450" y="1363"/>
                    <a:pt x="11450" y="1363"/>
                  </a:cubicBezTo>
                  <a:cubicBezTo>
                    <a:pt x="14350" y="1152"/>
                    <a:pt x="17200" y="1914"/>
                    <a:pt x="19450" y="3481"/>
                  </a:cubicBezTo>
                  <a:cubicBezTo>
                    <a:pt x="18100" y="4625"/>
                    <a:pt x="18100" y="4625"/>
                    <a:pt x="18100" y="4625"/>
                  </a:cubicBezTo>
                  <a:cubicBezTo>
                    <a:pt x="16000" y="3142"/>
                    <a:pt x="13300" y="2634"/>
                    <a:pt x="10750" y="3015"/>
                  </a:cubicBezTo>
                  <a:cubicBezTo>
                    <a:pt x="10300" y="1533"/>
                    <a:pt x="10300" y="1533"/>
                    <a:pt x="10300" y="1533"/>
                  </a:cubicBezTo>
                  <a:cubicBezTo>
                    <a:pt x="10700" y="1448"/>
                    <a:pt x="11050" y="1406"/>
                    <a:pt x="11450" y="1363"/>
                  </a:cubicBezTo>
                  <a:close/>
                  <a:moveTo>
                    <a:pt x="4700" y="4116"/>
                  </a:moveTo>
                  <a:cubicBezTo>
                    <a:pt x="5900" y="3058"/>
                    <a:pt x="7300" y="2295"/>
                    <a:pt x="8900" y="1829"/>
                  </a:cubicBezTo>
                  <a:cubicBezTo>
                    <a:pt x="9300" y="3227"/>
                    <a:pt x="9300" y="3227"/>
                    <a:pt x="9300" y="3227"/>
                  </a:cubicBezTo>
                  <a:cubicBezTo>
                    <a:pt x="9350" y="3354"/>
                    <a:pt x="9350" y="3354"/>
                    <a:pt x="9350" y="3354"/>
                  </a:cubicBezTo>
                  <a:cubicBezTo>
                    <a:pt x="8050" y="3735"/>
                    <a:pt x="6900" y="4370"/>
                    <a:pt x="6000" y="5175"/>
                  </a:cubicBezTo>
                  <a:cubicBezTo>
                    <a:pt x="6000" y="5133"/>
                    <a:pt x="6000" y="5133"/>
                    <a:pt x="6000" y="5133"/>
                  </a:cubicBezTo>
                  <a:cubicBezTo>
                    <a:pt x="4450" y="6446"/>
                    <a:pt x="3650" y="8098"/>
                    <a:pt x="3450" y="9792"/>
                  </a:cubicBezTo>
                  <a:cubicBezTo>
                    <a:pt x="1600" y="9792"/>
                    <a:pt x="1600" y="9792"/>
                    <a:pt x="1600" y="9792"/>
                  </a:cubicBezTo>
                  <a:cubicBezTo>
                    <a:pt x="1800" y="7674"/>
                    <a:pt x="2900" y="5641"/>
                    <a:pt x="4700" y="4116"/>
                  </a:cubicBezTo>
                  <a:close/>
                  <a:moveTo>
                    <a:pt x="8650" y="19194"/>
                  </a:moveTo>
                  <a:cubicBezTo>
                    <a:pt x="7250" y="18728"/>
                    <a:pt x="5950" y="18050"/>
                    <a:pt x="4850" y="17119"/>
                  </a:cubicBezTo>
                  <a:cubicBezTo>
                    <a:pt x="2900" y="15509"/>
                    <a:pt x="1750" y="13349"/>
                    <a:pt x="1600" y="11020"/>
                  </a:cubicBezTo>
                  <a:cubicBezTo>
                    <a:pt x="3450" y="11020"/>
                    <a:pt x="3450" y="11020"/>
                    <a:pt x="3450" y="11020"/>
                  </a:cubicBezTo>
                  <a:cubicBezTo>
                    <a:pt x="3600" y="12799"/>
                    <a:pt x="4500" y="14535"/>
                    <a:pt x="6100" y="15848"/>
                  </a:cubicBezTo>
                  <a:cubicBezTo>
                    <a:pt x="7000" y="16610"/>
                    <a:pt x="8050" y="17161"/>
                    <a:pt x="9150" y="17542"/>
                  </a:cubicBezTo>
                  <a:lnTo>
                    <a:pt x="8650" y="19194"/>
                  </a:lnTo>
                  <a:close/>
                  <a:moveTo>
                    <a:pt x="13450" y="19745"/>
                  </a:moveTo>
                  <a:cubicBezTo>
                    <a:pt x="12300" y="19829"/>
                    <a:pt x="11150" y="19745"/>
                    <a:pt x="10050" y="19533"/>
                  </a:cubicBezTo>
                  <a:cubicBezTo>
                    <a:pt x="10550" y="17881"/>
                    <a:pt x="10550" y="17881"/>
                    <a:pt x="10550" y="17881"/>
                  </a:cubicBezTo>
                  <a:cubicBezTo>
                    <a:pt x="10850" y="17923"/>
                    <a:pt x="11150" y="17966"/>
                    <a:pt x="11400" y="18008"/>
                  </a:cubicBezTo>
                  <a:cubicBezTo>
                    <a:pt x="11450" y="18008"/>
                    <a:pt x="11500" y="18008"/>
                    <a:pt x="11550" y="18008"/>
                  </a:cubicBezTo>
                  <a:cubicBezTo>
                    <a:pt x="11650" y="18008"/>
                    <a:pt x="11750" y="18008"/>
                    <a:pt x="11850" y="18008"/>
                  </a:cubicBezTo>
                  <a:cubicBezTo>
                    <a:pt x="11900" y="18008"/>
                    <a:pt x="11950" y="18008"/>
                    <a:pt x="12000" y="18008"/>
                  </a:cubicBezTo>
                  <a:cubicBezTo>
                    <a:pt x="12100" y="18008"/>
                    <a:pt x="12150" y="18008"/>
                    <a:pt x="12250" y="18050"/>
                  </a:cubicBezTo>
                  <a:cubicBezTo>
                    <a:pt x="12300" y="18050"/>
                    <a:pt x="12350" y="18050"/>
                    <a:pt x="12350" y="18050"/>
                  </a:cubicBezTo>
                  <a:cubicBezTo>
                    <a:pt x="12400" y="18050"/>
                    <a:pt x="12450" y="18050"/>
                    <a:pt x="12450" y="18050"/>
                  </a:cubicBezTo>
                  <a:cubicBezTo>
                    <a:pt x="12500" y="18050"/>
                    <a:pt x="12550" y="18008"/>
                    <a:pt x="12650" y="18008"/>
                  </a:cubicBezTo>
                  <a:cubicBezTo>
                    <a:pt x="14200" y="18008"/>
                    <a:pt x="15700" y="17627"/>
                    <a:pt x="16950" y="16949"/>
                  </a:cubicBezTo>
                  <a:cubicBezTo>
                    <a:pt x="16950" y="16949"/>
                    <a:pt x="16950" y="16949"/>
                    <a:pt x="16950" y="16949"/>
                  </a:cubicBezTo>
                  <a:cubicBezTo>
                    <a:pt x="17050" y="16907"/>
                    <a:pt x="17150" y="16865"/>
                    <a:pt x="17250" y="16822"/>
                  </a:cubicBezTo>
                  <a:cubicBezTo>
                    <a:pt x="17250" y="16780"/>
                    <a:pt x="17300" y="16780"/>
                    <a:pt x="17300" y="16780"/>
                  </a:cubicBezTo>
                  <a:cubicBezTo>
                    <a:pt x="17400" y="16738"/>
                    <a:pt x="17500" y="16653"/>
                    <a:pt x="17600" y="16610"/>
                  </a:cubicBezTo>
                  <a:cubicBezTo>
                    <a:pt x="17600" y="16610"/>
                    <a:pt x="17600" y="16610"/>
                    <a:pt x="17600" y="16610"/>
                  </a:cubicBezTo>
                  <a:cubicBezTo>
                    <a:pt x="19100" y="17839"/>
                    <a:pt x="19100" y="17839"/>
                    <a:pt x="19100" y="17839"/>
                  </a:cubicBezTo>
                  <a:cubicBezTo>
                    <a:pt x="17450" y="18898"/>
                    <a:pt x="15500" y="19575"/>
                    <a:pt x="13450" y="19745"/>
                  </a:cubicBezTo>
                  <a:close/>
                </a:path>
              </a:pathLst>
            </a:custGeom>
            <a:solidFill>
              <a:srgbClr val="0075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5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328233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A0C533-C6A7-DCE6-40BB-3064B5D857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FE007B2-213A-B1B5-CCA4-6CE06D6938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298A04-A8BB-734F-1187-80495A380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E60EDCC-66AC-ECFE-DB5F-FB256CE1F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E64D70-C55A-C8F1-BC0C-1AAD75D43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183635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E7CBF6-64A6-5050-6EDA-5E387248B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678A62A-80F6-513C-DA50-E90F17EDD0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49962ED-2E2D-8CEF-419D-7E3A9EEA6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FFB3D19-99D0-97D0-F096-CDA31F925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5ED152-32F7-E193-36DE-158C6CED1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604707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F43BA2-5323-CBAE-B467-785B7DC8F3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4D10943-C115-2AE9-2167-0422774587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C44796-6778-7C8F-04DF-3570779C13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ABE545-7658-4B1D-7758-99C4DA6F6D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2E666C-D02E-5C8B-DDE8-62CD8F5D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701651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B46EE9-C206-40E6-211F-EE0D8D39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C2A116-73EE-DE60-C0EA-90204E0621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8AB7190-918E-D9A6-5D9B-4EC459F53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38B590-A198-1EA2-6552-FBD7DE1784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E4B5E6-524D-3D60-C59E-6CE3C6EE5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382047-2520-3F49-C115-94FBFCB26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935706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121952F-3CB7-A286-35FA-59C2509F8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2E1BE5A-E9EF-6FD9-365D-24DFFEE2EE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F77396-4C72-EA8B-D05C-8D4734B496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1080872-E787-F120-7D18-30AE2B5DE4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52D8DD0-9030-BE73-E859-59B9354785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DB5CE095-C263-6604-5D68-1D6918BF7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A2DB07C-A6A9-AFDE-0A85-DC4AEBE97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95EB520-E32B-D959-932C-57C9B8B3C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859439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sv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B83409-5179-2FB4-4749-859A87708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8EC531-04CC-0E0E-E77E-54972AD9B1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026F14-7066-562D-AA8E-0EE428D62C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8F06E-C499-4C4A-AEBD-3CF34891B2CB}" type="datetimeFigureOut">
              <a:rPr lang="en-US" smtClean="0"/>
              <a:t>1/5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DB5610-1EA3-68A6-8672-A86E2AF59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5C02FB-404A-85A3-DD69-C84FE2D19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C60FF0-CB54-489A-8041-AD8D5E18EB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95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7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5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DADB0B-0438-64BD-63D4-3B9395358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372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DADB0B-0438-64BD-63D4-3B9395358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6"/>
          <p:cNvGrpSpPr/>
          <p:nvPr/>
        </p:nvGrpSpPr>
        <p:grpSpPr>
          <a:xfrm>
            <a:off x="7449517" y="-11671"/>
            <a:ext cx="4764254" cy="6881343"/>
            <a:chOff x="0" y="0"/>
            <a:chExt cx="4764253" cy="6881342"/>
          </a:xfrm>
        </p:grpSpPr>
        <p:sp>
          <p:nvSpPr>
            <p:cNvPr id="2" name="Freeform 5"/>
            <p:cNvSpPr/>
            <p:nvPr/>
          </p:nvSpPr>
          <p:spPr>
            <a:xfrm>
              <a:off x="2546877" y="1926075"/>
              <a:ext cx="2217376" cy="30148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85"/>
                  </a:moveTo>
                  <a:cubicBezTo>
                    <a:pt x="0" y="16766"/>
                    <a:pt x="6624" y="21600"/>
                    <a:pt x="14729" y="21600"/>
                  </a:cubicBezTo>
                  <a:cubicBezTo>
                    <a:pt x="17198" y="21600"/>
                    <a:pt x="19543" y="21147"/>
                    <a:pt x="21600" y="20361"/>
                  </a:cubicBezTo>
                  <a:cubicBezTo>
                    <a:pt x="21600" y="16374"/>
                    <a:pt x="21600" y="16374"/>
                    <a:pt x="21600" y="16374"/>
                  </a:cubicBezTo>
                  <a:cubicBezTo>
                    <a:pt x="19790" y="17582"/>
                    <a:pt x="17362" y="18307"/>
                    <a:pt x="14729" y="18307"/>
                  </a:cubicBezTo>
                  <a:cubicBezTo>
                    <a:pt x="9093" y="18307"/>
                    <a:pt x="4485" y="14924"/>
                    <a:pt x="4485" y="10785"/>
                  </a:cubicBezTo>
                  <a:cubicBezTo>
                    <a:pt x="4485" y="6676"/>
                    <a:pt x="9093" y="3293"/>
                    <a:pt x="14729" y="3293"/>
                  </a:cubicBezTo>
                  <a:cubicBezTo>
                    <a:pt x="17362" y="3293"/>
                    <a:pt x="19790" y="4018"/>
                    <a:pt x="21600" y="5226"/>
                  </a:cubicBezTo>
                  <a:cubicBezTo>
                    <a:pt x="21600" y="1239"/>
                    <a:pt x="21600" y="1239"/>
                    <a:pt x="21600" y="1239"/>
                  </a:cubicBezTo>
                  <a:cubicBezTo>
                    <a:pt x="19543" y="453"/>
                    <a:pt x="17198" y="0"/>
                    <a:pt x="14729" y="0"/>
                  </a:cubicBezTo>
                  <a:cubicBezTo>
                    <a:pt x="6624" y="0"/>
                    <a:pt x="0" y="4834"/>
                    <a:pt x="0" y="10785"/>
                  </a:cubicBezTo>
                  <a:close/>
                </a:path>
              </a:pathLst>
            </a:custGeom>
            <a:noFill/>
            <a:ln w="22225" cap="flat">
              <a:solidFill>
                <a:srgbClr val="ED6B1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3" name="Freeform 6"/>
            <p:cNvSpPr/>
            <p:nvPr/>
          </p:nvSpPr>
          <p:spPr>
            <a:xfrm>
              <a:off x="-1" y="0"/>
              <a:ext cx="4764254" cy="6881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8344"/>
                  </a:moveTo>
                  <a:cubicBezTo>
                    <a:pt x="20604" y="18543"/>
                    <a:pt x="19532" y="18649"/>
                    <a:pt x="18421" y="18649"/>
                  </a:cubicBezTo>
                  <a:cubicBezTo>
                    <a:pt x="12121" y="18649"/>
                    <a:pt x="6989" y="15128"/>
                    <a:pt x="6989" y="10800"/>
                  </a:cubicBezTo>
                  <a:cubicBezTo>
                    <a:pt x="6989" y="6472"/>
                    <a:pt x="12121" y="2951"/>
                    <a:pt x="18421" y="2951"/>
                  </a:cubicBezTo>
                  <a:cubicBezTo>
                    <a:pt x="19532" y="2951"/>
                    <a:pt x="20604" y="3057"/>
                    <a:pt x="21600" y="3269"/>
                  </a:cubicBezTo>
                  <a:cubicBezTo>
                    <a:pt x="21600" y="1760"/>
                    <a:pt x="21600" y="1760"/>
                    <a:pt x="21600" y="1760"/>
                  </a:cubicBezTo>
                  <a:cubicBezTo>
                    <a:pt x="20585" y="1601"/>
                    <a:pt x="19532" y="1509"/>
                    <a:pt x="18421" y="1509"/>
                  </a:cubicBezTo>
                  <a:cubicBezTo>
                    <a:pt x="17598" y="1509"/>
                    <a:pt x="16774" y="1562"/>
                    <a:pt x="15970" y="1668"/>
                  </a:cubicBezTo>
                  <a:cubicBezTo>
                    <a:pt x="15357" y="0"/>
                    <a:pt x="15357" y="0"/>
                    <a:pt x="15357" y="0"/>
                  </a:cubicBezTo>
                  <a:cubicBezTo>
                    <a:pt x="8866" y="0"/>
                    <a:pt x="8866" y="0"/>
                    <a:pt x="8866" y="0"/>
                  </a:cubicBezTo>
                  <a:cubicBezTo>
                    <a:pt x="7621" y="516"/>
                    <a:pt x="6453" y="1138"/>
                    <a:pt x="5400" y="1866"/>
                  </a:cubicBezTo>
                  <a:cubicBezTo>
                    <a:pt x="1915" y="4249"/>
                    <a:pt x="0" y="7425"/>
                    <a:pt x="0" y="10800"/>
                  </a:cubicBezTo>
                  <a:cubicBezTo>
                    <a:pt x="0" y="14175"/>
                    <a:pt x="1915" y="17351"/>
                    <a:pt x="5400" y="19734"/>
                  </a:cubicBezTo>
                  <a:cubicBezTo>
                    <a:pt x="6453" y="20462"/>
                    <a:pt x="7621" y="21084"/>
                    <a:pt x="8847" y="21600"/>
                  </a:cubicBezTo>
                  <a:cubicBezTo>
                    <a:pt x="15338" y="21600"/>
                    <a:pt x="15338" y="21600"/>
                    <a:pt x="15338" y="21600"/>
                  </a:cubicBezTo>
                  <a:cubicBezTo>
                    <a:pt x="15951" y="19932"/>
                    <a:pt x="15951" y="19932"/>
                    <a:pt x="15951" y="19932"/>
                  </a:cubicBezTo>
                  <a:cubicBezTo>
                    <a:pt x="16755" y="20038"/>
                    <a:pt x="17579" y="20091"/>
                    <a:pt x="18421" y="20091"/>
                  </a:cubicBezTo>
                  <a:cubicBezTo>
                    <a:pt x="19532" y="20091"/>
                    <a:pt x="20585" y="19999"/>
                    <a:pt x="21600" y="19840"/>
                  </a:cubicBezTo>
                  <a:lnTo>
                    <a:pt x="21600" y="18344"/>
                  </a:lnTo>
                  <a:close/>
                  <a:moveTo>
                    <a:pt x="13194" y="199"/>
                  </a:moveTo>
                  <a:cubicBezTo>
                    <a:pt x="13883" y="2051"/>
                    <a:pt x="13883" y="2051"/>
                    <a:pt x="13883" y="2051"/>
                  </a:cubicBezTo>
                  <a:cubicBezTo>
                    <a:pt x="8962" y="3256"/>
                    <a:pt x="5362" y="6353"/>
                    <a:pt x="4921" y="10046"/>
                  </a:cubicBezTo>
                  <a:cubicBezTo>
                    <a:pt x="2145" y="10046"/>
                    <a:pt x="2145" y="10046"/>
                    <a:pt x="2145" y="10046"/>
                  </a:cubicBezTo>
                  <a:cubicBezTo>
                    <a:pt x="2585" y="5466"/>
                    <a:pt x="7085" y="1615"/>
                    <a:pt x="13194" y="199"/>
                  </a:cubicBezTo>
                  <a:close/>
                  <a:moveTo>
                    <a:pt x="13174" y="21401"/>
                  </a:moveTo>
                  <a:cubicBezTo>
                    <a:pt x="7066" y="19972"/>
                    <a:pt x="2585" y="16121"/>
                    <a:pt x="2145" y="11541"/>
                  </a:cubicBezTo>
                  <a:cubicBezTo>
                    <a:pt x="4921" y="11541"/>
                    <a:pt x="4921" y="11541"/>
                    <a:pt x="4921" y="11541"/>
                  </a:cubicBezTo>
                  <a:cubicBezTo>
                    <a:pt x="5343" y="15234"/>
                    <a:pt x="8943" y="18331"/>
                    <a:pt x="13845" y="19549"/>
                  </a:cubicBezTo>
                  <a:lnTo>
                    <a:pt x="13174" y="21401"/>
                  </a:lnTo>
                  <a:close/>
                </a:path>
              </a:pathLst>
            </a:custGeom>
            <a:noFill/>
            <a:ln w="22225" cap="flat">
              <a:solidFill>
                <a:srgbClr val="ED6B17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/>
          <a:lstStyle/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6" name="Рисунок 4">
            <a:extLst>
              <a:ext uri="{FF2B5EF4-FFF2-40B4-BE49-F238E27FC236}">
                <a16:creationId xmlns:a16="http://schemas.microsoft.com/office/drawing/2014/main" id="{58EF52FA-3925-4382-8BBC-5E1865C672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4911" y="5649336"/>
            <a:ext cx="3577274" cy="49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89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ransition>
    <p:fade/>
  </p:transition>
  <p:hf hdr="0" dt="0"/>
  <p:txStyles>
    <p:titleStyle>
      <a:lvl1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228600" marR="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1pPr>
      <a:lvl2pPr marL="723900" marR="0" indent="-2667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2pPr>
      <a:lvl3pPr marL="1234439" marR="0" indent="-320039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3pPr>
      <a:lvl4pPr marL="1727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4pPr>
      <a:lvl5pPr marL="21844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5pPr>
      <a:lvl6pPr marL="26416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6pPr>
      <a:lvl7pPr marL="30988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7pPr>
      <a:lvl8pPr marL="35560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8pPr>
      <a:lvl9pPr marL="4013200" marR="0" indent="-3556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2554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r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20E6BB-001B-9055-2712-DE3A1B3A9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584C2D-C691-9CAD-C3C0-0E871949A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48A696-C53F-7C2C-DFB2-815C95A161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8D0F10-8D0D-D25A-3CD0-4CCDD8AED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97EA4A-ED9C-D41C-6119-386796C19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331239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8" r:id="rId8"/>
    <p:sldLayoutId id="2147483684" r:id="rId9"/>
    <p:sldLayoutId id="2147483685" r:id="rId10"/>
    <p:sldLayoutId id="2147483686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20E6BB-001B-9055-2712-DE3A1B3A9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KZ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584C2D-C691-9CAD-C3C0-0E871949A6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48A696-C53F-7C2C-DFB2-815C95A161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8B586-D399-4B9B-A855-F510CBA95C6A}" type="datetimeFigureOut">
              <a:rPr lang="ru-KZ" smtClean="0"/>
              <a:t>05.01.2025</a:t>
            </a:fld>
            <a:endParaRPr lang="ru-KZ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68D0F10-8D0D-D25A-3CD0-4CCDD8AEDC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KZ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97EA4A-ED9C-D41C-6119-386796C19F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5E610-BF7E-46E4-B3D4-B9C5538526B9}" type="slidenum">
              <a:rPr lang="ru-KZ" smtClean="0"/>
              <a:t>‹#›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24727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K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Text Placeholder 15"/>
          <p:cNvSpPr txBox="1">
            <a:spLocks noGrp="1"/>
          </p:cNvSpPr>
          <p:nvPr>
            <p:ph type="body" sz="quarter" idx="1"/>
          </p:nvPr>
        </p:nvSpPr>
        <p:spPr>
          <a:xfrm>
            <a:off x="651709" y="1031834"/>
            <a:ext cx="6941826" cy="2003426"/>
          </a:xfrm>
          <a:prstGeom prst="rect">
            <a:avLst/>
          </a:prstGeom>
        </p:spPr>
        <p:txBody>
          <a:bodyPr/>
          <a:lstStyle/>
          <a:p>
            <a:r>
              <a:rPr lang="ru-RU" sz="4000">
                <a:latin typeface="Montserrat" panose="00000500000000000000" pitchFamily="2" charset="-52"/>
              </a:rPr>
              <a:t>Рынок капитала</a:t>
            </a:r>
            <a:endParaRPr lang="en-US" sz="4000">
              <a:latin typeface="Montserrat" panose="00000500000000000000" pitchFamily="2" charset="-52"/>
            </a:endParaRPr>
          </a:p>
          <a:p>
            <a:r>
              <a:rPr lang="ru-RU" sz="2800" b="0">
                <a:latin typeface="Montserrat" panose="00000500000000000000" pitchFamily="2" charset="-52"/>
              </a:rPr>
              <a:t>Обзор за месяц</a:t>
            </a:r>
            <a:endParaRPr lang="en-US" sz="2400" b="0">
              <a:latin typeface="Montserrat" panose="00000500000000000000" pitchFamily="2" charset="-52"/>
            </a:endParaRPr>
          </a:p>
        </p:txBody>
      </p:sp>
      <p:sp>
        <p:nvSpPr>
          <p:cNvPr id="166" name="Straight Connector 13"/>
          <p:cNvSpPr/>
          <p:nvPr/>
        </p:nvSpPr>
        <p:spPr>
          <a:xfrm flipV="1">
            <a:off x="651710" y="2299855"/>
            <a:ext cx="927880" cy="3289"/>
          </a:xfrm>
          <a:prstGeom prst="line">
            <a:avLst/>
          </a:prstGeom>
          <a:ln w="19050">
            <a:solidFill>
              <a:schemeClr val="accent1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7" name="Text Placeholder 17"/>
          <p:cNvSpPr>
            <a:spLocks noGrp="1"/>
          </p:cNvSpPr>
          <p:nvPr>
            <p:ph type="body" idx="13"/>
          </p:nvPr>
        </p:nvSpPr>
        <p:spPr>
          <a:xfrm>
            <a:off x="651709" y="2557037"/>
            <a:ext cx="6941826" cy="200342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dirty="0">
                <a:latin typeface="Montserrat" panose="00000500000000000000" pitchFamily="2" charset="-52"/>
                <a:cs typeface="Mongolian Baiti" panose="03000500000000000000" pitchFamily="66" charset="0"/>
              </a:rPr>
              <a:t>Ноябрь </a:t>
            </a:r>
            <a:r>
              <a:rPr lang="en-US" dirty="0">
                <a:latin typeface="Montserrat" panose="00000500000000000000" pitchFamily="2" charset="-52"/>
                <a:cs typeface="Mongolian Baiti" panose="03000500000000000000" pitchFamily="66" charset="0"/>
              </a:rPr>
              <a:t>2024</a:t>
            </a:r>
          </a:p>
          <a:p>
            <a:endParaRPr dirty="0"/>
          </a:p>
        </p:txBody>
      </p:sp>
      <p:grpSp>
        <p:nvGrpSpPr>
          <p:cNvPr id="174" name="Group 4"/>
          <p:cNvGrpSpPr/>
          <p:nvPr/>
        </p:nvGrpSpPr>
        <p:grpSpPr>
          <a:xfrm>
            <a:off x="604152" y="5766351"/>
            <a:ext cx="1545092" cy="510072"/>
            <a:chOff x="0" y="0"/>
            <a:chExt cx="1545091" cy="510070"/>
          </a:xfrm>
        </p:grpSpPr>
        <p:sp>
          <p:nvSpPr>
            <p:cNvPr id="168" name="Freeform 5"/>
            <p:cNvSpPr/>
            <p:nvPr/>
          </p:nvSpPr>
          <p:spPr>
            <a:xfrm>
              <a:off x="538440" y="91162"/>
              <a:ext cx="325147" cy="3260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107" y="21600"/>
                  </a:moveTo>
                  <a:lnTo>
                    <a:pt x="15379" y="17636"/>
                  </a:lnTo>
                  <a:lnTo>
                    <a:pt x="6221" y="17636"/>
                  </a:lnTo>
                  <a:lnTo>
                    <a:pt x="4435" y="21600"/>
                  </a:lnTo>
                  <a:lnTo>
                    <a:pt x="0" y="21600"/>
                  </a:lnTo>
                  <a:lnTo>
                    <a:pt x="10483" y="0"/>
                  </a:lnTo>
                  <a:lnTo>
                    <a:pt x="11059" y="0"/>
                  </a:lnTo>
                  <a:lnTo>
                    <a:pt x="21600" y="21600"/>
                  </a:lnTo>
                  <a:lnTo>
                    <a:pt x="17107" y="21600"/>
                  </a:lnTo>
                  <a:close/>
                  <a:moveTo>
                    <a:pt x="7488" y="14591"/>
                  </a:moveTo>
                  <a:lnTo>
                    <a:pt x="14054" y="14591"/>
                  </a:lnTo>
                  <a:lnTo>
                    <a:pt x="10771" y="7411"/>
                  </a:lnTo>
                  <a:lnTo>
                    <a:pt x="7488" y="1459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69" name="Rectangle 6"/>
            <p:cNvSpPr/>
            <p:nvPr/>
          </p:nvSpPr>
          <p:spPr>
            <a:xfrm>
              <a:off x="912141" y="99832"/>
              <a:ext cx="63295" cy="31734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0" name="Freeform 7"/>
            <p:cNvSpPr/>
            <p:nvPr/>
          </p:nvSpPr>
          <p:spPr>
            <a:xfrm>
              <a:off x="1056939" y="99832"/>
              <a:ext cx="176013" cy="3173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67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lnTo>
                    <a:pt x="21600" y="3423"/>
                  </a:lnTo>
                  <a:lnTo>
                    <a:pt x="7767" y="3423"/>
                  </a:lnTo>
                  <a:lnTo>
                    <a:pt x="7767" y="8144"/>
                  </a:lnTo>
                  <a:lnTo>
                    <a:pt x="17344" y="8144"/>
                  </a:lnTo>
                  <a:lnTo>
                    <a:pt x="17344" y="11508"/>
                  </a:lnTo>
                  <a:lnTo>
                    <a:pt x="7767" y="11508"/>
                  </a:lnTo>
                  <a:lnTo>
                    <a:pt x="7767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1" name="Freeform 8"/>
            <p:cNvSpPr/>
            <p:nvPr/>
          </p:nvSpPr>
          <p:spPr>
            <a:xfrm>
              <a:off x="1262431" y="95497"/>
              <a:ext cx="282661" cy="3251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732"/>
                  </a:moveTo>
                  <a:cubicBezTo>
                    <a:pt x="0" y="4279"/>
                    <a:pt x="5069" y="0"/>
                    <a:pt x="12710" y="0"/>
                  </a:cubicBezTo>
                  <a:cubicBezTo>
                    <a:pt x="15440" y="0"/>
                    <a:pt x="18793" y="815"/>
                    <a:pt x="20664" y="1970"/>
                  </a:cubicBezTo>
                  <a:cubicBezTo>
                    <a:pt x="20274" y="5570"/>
                    <a:pt x="20274" y="5570"/>
                    <a:pt x="20274" y="5570"/>
                  </a:cubicBezTo>
                  <a:cubicBezTo>
                    <a:pt x="18325" y="4279"/>
                    <a:pt x="15284" y="3396"/>
                    <a:pt x="12944" y="3396"/>
                  </a:cubicBezTo>
                  <a:cubicBezTo>
                    <a:pt x="8188" y="3396"/>
                    <a:pt x="4991" y="6385"/>
                    <a:pt x="4991" y="10732"/>
                  </a:cubicBezTo>
                  <a:cubicBezTo>
                    <a:pt x="4991" y="15147"/>
                    <a:pt x="8188" y="18204"/>
                    <a:pt x="12944" y="18204"/>
                  </a:cubicBezTo>
                  <a:cubicBezTo>
                    <a:pt x="15830" y="18204"/>
                    <a:pt x="18325" y="17117"/>
                    <a:pt x="19729" y="16030"/>
                  </a:cubicBezTo>
                  <a:cubicBezTo>
                    <a:pt x="21600" y="19087"/>
                    <a:pt x="21600" y="19087"/>
                    <a:pt x="21600" y="19087"/>
                  </a:cubicBezTo>
                  <a:cubicBezTo>
                    <a:pt x="18949" y="20717"/>
                    <a:pt x="16064" y="21600"/>
                    <a:pt x="12710" y="21600"/>
                  </a:cubicBezTo>
                  <a:cubicBezTo>
                    <a:pt x="5069" y="21600"/>
                    <a:pt x="0" y="17253"/>
                    <a:pt x="0" y="1073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Freeform 9"/>
            <p:cNvSpPr/>
            <p:nvPr/>
          </p:nvSpPr>
          <p:spPr>
            <a:xfrm>
              <a:off x="156069" y="154457"/>
              <a:ext cx="192487" cy="1942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0857"/>
                  </a:moveTo>
                  <a:cubicBezTo>
                    <a:pt x="0" y="16800"/>
                    <a:pt x="4800" y="21600"/>
                    <a:pt x="10743" y="21600"/>
                  </a:cubicBezTo>
                  <a:cubicBezTo>
                    <a:pt x="16686" y="21600"/>
                    <a:pt x="21600" y="16800"/>
                    <a:pt x="21600" y="10857"/>
                  </a:cubicBezTo>
                  <a:cubicBezTo>
                    <a:pt x="21600" y="4914"/>
                    <a:pt x="16686" y="0"/>
                    <a:pt x="10743" y="0"/>
                  </a:cubicBezTo>
                  <a:cubicBezTo>
                    <a:pt x="4800" y="0"/>
                    <a:pt x="0" y="4914"/>
                    <a:pt x="0" y="10857"/>
                  </a:cubicBezTo>
                  <a:close/>
                  <a:moveTo>
                    <a:pt x="18400" y="10857"/>
                  </a:moveTo>
                  <a:cubicBezTo>
                    <a:pt x="18400" y="15086"/>
                    <a:pt x="14971" y="18514"/>
                    <a:pt x="10743" y="18514"/>
                  </a:cubicBezTo>
                  <a:cubicBezTo>
                    <a:pt x="6514" y="18514"/>
                    <a:pt x="3086" y="15086"/>
                    <a:pt x="3086" y="10857"/>
                  </a:cubicBezTo>
                  <a:cubicBezTo>
                    <a:pt x="3086" y="6629"/>
                    <a:pt x="6514" y="3200"/>
                    <a:pt x="10743" y="3200"/>
                  </a:cubicBezTo>
                  <a:cubicBezTo>
                    <a:pt x="14971" y="3200"/>
                    <a:pt x="18400" y="6629"/>
                    <a:pt x="18400" y="10857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Freeform 10"/>
            <p:cNvSpPr/>
            <p:nvPr/>
          </p:nvSpPr>
          <p:spPr>
            <a:xfrm>
              <a:off x="0" y="0"/>
              <a:ext cx="440464" cy="510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108" extrusionOk="0">
                  <a:moveTo>
                    <a:pt x="17700" y="14916"/>
                  </a:moveTo>
                  <a:cubicBezTo>
                    <a:pt x="17700" y="14916"/>
                    <a:pt x="17650" y="14916"/>
                    <a:pt x="17650" y="14959"/>
                  </a:cubicBezTo>
                  <a:cubicBezTo>
                    <a:pt x="17650" y="14959"/>
                    <a:pt x="17650" y="14959"/>
                    <a:pt x="17650" y="14959"/>
                  </a:cubicBezTo>
                  <a:cubicBezTo>
                    <a:pt x="16300" y="16102"/>
                    <a:pt x="14400" y="16780"/>
                    <a:pt x="12350" y="16780"/>
                  </a:cubicBezTo>
                  <a:cubicBezTo>
                    <a:pt x="9150" y="16780"/>
                    <a:pt x="6450" y="15086"/>
                    <a:pt x="5350" y="12672"/>
                  </a:cubicBezTo>
                  <a:cubicBezTo>
                    <a:pt x="5350" y="12672"/>
                    <a:pt x="5350" y="12629"/>
                    <a:pt x="5350" y="12629"/>
                  </a:cubicBezTo>
                  <a:cubicBezTo>
                    <a:pt x="5300" y="12587"/>
                    <a:pt x="5300" y="12545"/>
                    <a:pt x="5300" y="12545"/>
                  </a:cubicBezTo>
                  <a:cubicBezTo>
                    <a:pt x="4400" y="10342"/>
                    <a:pt x="4950" y="7801"/>
                    <a:pt x="7050" y="6022"/>
                  </a:cubicBezTo>
                  <a:cubicBezTo>
                    <a:pt x="7000" y="6022"/>
                    <a:pt x="7000" y="6022"/>
                    <a:pt x="7000" y="6022"/>
                  </a:cubicBezTo>
                  <a:cubicBezTo>
                    <a:pt x="7750" y="5387"/>
                    <a:pt x="8700" y="4879"/>
                    <a:pt x="9700" y="4540"/>
                  </a:cubicBezTo>
                  <a:cubicBezTo>
                    <a:pt x="9700" y="4540"/>
                    <a:pt x="9700" y="4540"/>
                    <a:pt x="9700" y="4540"/>
                  </a:cubicBezTo>
                  <a:cubicBezTo>
                    <a:pt x="12350" y="3693"/>
                    <a:pt x="15450" y="4159"/>
                    <a:pt x="17600" y="5938"/>
                  </a:cubicBezTo>
                  <a:cubicBezTo>
                    <a:pt x="18150" y="6361"/>
                    <a:pt x="18150" y="6361"/>
                    <a:pt x="18150" y="6361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0500" y="4328"/>
                    <a:pt x="20500" y="4328"/>
                    <a:pt x="20500" y="4328"/>
                  </a:cubicBezTo>
                  <a:cubicBezTo>
                    <a:pt x="21600" y="3396"/>
                    <a:pt x="21600" y="3396"/>
                    <a:pt x="21600" y="3396"/>
                  </a:cubicBezTo>
                  <a:cubicBezTo>
                    <a:pt x="21450" y="3269"/>
                    <a:pt x="21350" y="3142"/>
                    <a:pt x="21200" y="3015"/>
                  </a:cubicBezTo>
                  <a:cubicBezTo>
                    <a:pt x="18450" y="770"/>
                    <a:pt x="14850" y="-246"/>
                    <a:pt x="11300" y="50"/>
                  </a:cubicBezTo>
                  <a:cubicBezTo>
                    <a:pt x="8450" y="262"/>
                    <a:pt x="5700" y="1321"/>
                    <a:pt x="3550" y="3142"/>
                  </a:cubicBezTo>
                  <a:cubicBezTo>
                    <a:pt x="1400" y="5006"/>
                    <a:pt x="250" y="7378"/>
                    <a:pt x="50" y="9792"/>
                  </a:cubicBezTo>
                  <a:cubicBezTo>
                    <a:pt x="0" y="9792"/>
                    <a:pt x="0" y="9792"/>
                    <a:pt x="0" y="9792"/>
                  </a:cubicBezTo>
                  <a:cubicBezTo>
                    <a:pt x="0" y="10130"/>
                    <a:pt x="0" y="10130"/>
                    <a:pt x="0" y="10130"/>
                  </a:cubicBezTo>
                  <a:cubicBezTo>
                    <a:pt x="0" y="10469"/>
                    <a:pt x="0" y="10469"/>
                    <a:pt x="0" y="10469"/>
                  </a:cubicBezTo>
                  <a:cubicBezTo>
                    <a:pt x="0" y="10766"/>
                    <a:pt x="0" y="10766"/>
                    <a:pt x="0" y="10766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0" y="11020"/>
                    <a:pt x="0" y="11020"/>
                    <a:pt x="0" y="11020"/>
                  </a:cubicBezTo>
                  <a:cubicBezTo>
                    <a:pt x="150" y="13603"/>
                    <a:pt x="1400" y="16145"/>
                    <a:pt x="3750" y="18093"/>
                  </a:cubicBezTo>
                  <a:cubicBezTo>
                    <a:pt x="6450" y="20338"/>
                    <a:pt x="10100" y="21354"/>
                    <a:pt x="13600" y="21058"/>
                  </a:cubicBezTo>
                  <a:cubicBezTo>
                    <a:pt x="16450" y="20846"/>
                    <a:pt x="19200" y="19787"/>
                    <a:pt x="21350" y="17966"/>
                  </a:cubicBezTo>
                  <a:cubicBezTo>
                    <a:pt x="18750" y="15763"/>
                    <a:pt x="18750" y="15763"/>
                    <a:pt x="18750" y="15763"/>
                  </a:cubicBezTo>
                  <a:lnTo>
                    <a:pt x="17700" y="14916"/>
                  </a:lnTo>
                  <a:close/>
                  <a:moveTo>
                    <a:pt x="11450" y="1363"/>
                  </a:moveTo>
                  <a:cubicBezTo>
                    <a:pt x="11450" y="1363"/>
                    <a:pt x="11450" y="1363"/>
                    <a:pt x="11450" y="1363"/>
                  </a:cubicBezTo>
                  <a:cubicBezTo>
                    <a:pt x="14350" y="1152"/>
                    <a:pt x="17200" y="1914"/>
                    <a:pt x="19450" y="3481"/>
                  </a:cubicBezTo>
                  <a:cubicBezTo>
                    <a:pt x="18100" y="4625"/>
                    <a:pt x="18100" y="4625"/>
                    <a:pt x="18100" y="4625"/>
                  </a:cubicBezTo>
                  <a:cubicBezTo>
                    <a:pt x="16000" y="3142"/>
                    <a:pt x="13300" y="2634"/>
                    <a:pt x="10750" y="3015"/>
                  </a:cubicBezTo>
                  <a:cubicBezTo>
                    <a:pt x="10300" y="1533"/>
                    <a:pt x="10300" y="1533"/>
                    <a:pt x="10300" y="1533"/>
                  </a:cubicBezTo>
                  <a:cubicBezTo>
                    <a:pt x="10700" y="1448"/>
                    <a:pt x="11050" y="1406"/>
                    <a:pt x="11450" y="1363"/>
                  </a:cubicBezTo>
                  <a:close/>
                  <a:moveTo>
                    <a:pt x="4700" y="4116"/>
                  </a:moveTo>
                  <a:cubicBezTo>
                    <a:pt x="5900" y="3058"/>
                    <a:pt x="7300" y="2295"/>
                    <a:pt x="8900" y="1829"/>
                  </a:cubicBezTo>
                  <a:cubicBezTo>
                    <a:pt x="9300" y="3227"/>
                    <a:pt x="9300" y="3227"/>
                    <a:pt x="9300" y="3227"/>
                  </a:cubicBezTo>
                  <a:cubicBezTo>
                    <a:pt x="9350" y="3354"/>
                    <a:pt x="9350" y="3354"/>
                    <a:pt x="9350" y="3354"/>
                  </a:cubicBezTo>
                  <a:cubicBezTo>
                    <a:pt x="8050" y="3735"/>
                    <a:pt x="6900" y="4370"/>
                    <a:pt x="6000" y="5175"/>
                  </a:cubicBezTo>
                  <a:cubicBezTo>
                    <a:pt x="6000" y="5133"/>
                    <a:pt x="6000" y="5133"/>
                    <a:pt x="6000" y="5133"/>
                  </a:cubicBezTo>
                  <a:cubicBezTo>
                    <a:pt x="4450" y="6446"/>
                    <a:pt x="3650" y="8098"/>
                    <a:pt x="3450" y="9792"/>
                  </a:cubicBezTo>
                  <a:cubicBezTo>
                    <a:pt x="1600" y="9792"/>
                    <a:pt x="1600" y="9792"/>
                    <a:pt x="1600" y="9792"/>
                  </a:cubicBezTo>
                  <a:cubicBezTo>
                    <a:pt x="1800" y="7674"/>
                    <a:pt x="2900" y="5641"/>
                    <a:pt x="4700" y="4116"/>
                  </a:cubicBezTo>
                  <a:close/>
                  <a:moveTo>
                    <a:pt x="8650" y="19194"/>
                  </a:moveTo>
                  <a:cubicBezTo>
                    <a:pt x="7250" y="18728"/>
                    <a:pt x="5950" y="18050"/>
                    <a:pt x="4850" y="17119"/>
                  </a:cubicBezTo>
                  <a:cubicBezTo>
                    <a:pt x="2900" y="15509"/>
                    <a:pt x="1750" y="13349"/>
                    <a:pt x="1600" y="11020"/>
                  </a:cubicBezTo>
                  <a:cubicBezTo>
                    <a:pt x="3450" y="11020"/>
                    <a:pt x="3450" y="11020"/>
                    <a:pt x="3450" y="11020"/>
                  </a:cubicBezTo>
                  <a:cubicBezTo>
                    <a:pt x="3600" y="12799"/>
                    <a:pt x="4500" y="14535"/>
                    <a:pt x="6100" y="15848"/>
                  </a:cubicBezTo>
                  <a:cubicBezTo>
                    <a:pt x="7000" y="16610"/>
                    <a:pt x="8050" y="17161"/>
                    <a:pt x="9150" y="17542"/>
                  </a:cubicBezTo>
                  <a:lnTo>
                    <a:pt x="8650" y="19194"/>
                  </a:lnTo>
                  <a:close/>
                  <a:moveTo>
                    <a:pt x="13450" y="19745"/>
                  </a:moveTo>
                  <a:cubicBezTo>
                    <a:pt x="12300" y="19829"/>
                    <a:pt x="11150" y="19745"/>
                    <a:pt x="10050" y="19533"/>
                  </a:cubicBezTo>
                  <a:cubicBezTo>
                    <a:pt x="10550" y="17881"/>
                    <a:pt x="10550" y="17881"/>
                    <a:pt x="10550" y="17881"/>
                  </a:cubicBezTo>
                  <a:cubicBezTo>
                    <a:pt x="10850" y="17923"/>
                    <a:pt x="11150" y="17966"/>
                    <a:pt x="11400" y="18008"/>
                  </a:cubicBezTo>
                  <a:cubicBezTo>
                    <a:pt x="11450" y="18008"/>
                    <a:pt x="11500" y="18008"/>
                    <a:pt x="11550" y="18008"/>
                  </a:cubicBezTo>
                  <a:cubicBezTo>
                    <a:pt x="11650" y="18008"/>
                    <a:pt x="11750" y="18008"/>
                    <a:pt x="11850" y="18008"/>
                  </a:cubicBezTo>
                  <a:cubicBezTo>
                    <a:pt x="11900" y="18008"/>
                    <a:pt x="11950" y="18008"/>
                    <a:pt x="12000" y="18008"/>
                  </a:cubicBezTo>
                  <a:cubicBezTo>
                    <a:pt x="12100" y="18008"/>
                    <a:pt x="12150" y="18008"/>
                    <a:pt x="12250" y="18050"/>
                  </a:cubicBezTo>
                  <a:cubicBezTo>
                    <a:pt x="12300" y="18050"/>
                    <a:pt x="12350" y="18050"/>
                    <a:pt x="12350" y="18050"/>
                  </a:cubicBezTo>
                  <a:cubicBezTo>
                    <a:pt x="12400" y="18050"/>
                    <a:pt x="12450" y="18050"/>
                    <a:pt x="12450" y="18050"/>
                  </a:cubicBezTo>
                  <a:cubicBezTo>
                    <a:pt x="12500" y="18050"/>
                    <a:pt x="12550" y="18008"/>
                    <a:pt x="12650" y="18008"/>
                  </a:cubicBezTo>
                  <a:cubicBezTo>
                    <a:pt x="14200" y="18008"/>
                    <a:pt x="15700" y="17627"/>
                    <a:pt x="16950" y="16949"/>
                  </a:cubicBezTo>
                  <a:cubicBezTo>
                    <a:pt x="16950" y="16949"/>
                    <a:pt x="16950" y="16949"/>
                    <a:pt x="16950" y="16949"/>
                  </a:cubicBezTo>
                  <a:cubicBezTo>
                    <a:pt x="17050" y="16907"/>
                    <a:pt x="17150" y="16865"/>
                    <a:pt x="17250" y="16822"/>
                  </a:cubicBezTo>
                  <a:cubicBezTo>
                    <a:pt x="17250" y="16780"/>
                    <a:pt x="17300" y="16780"/>
                    <a:pt x="17300" y="16780"/>
                  </a:cubicBezTo>
                  <a:cubicBezTo>
                    <a:pt x="17400" y="16738"/>
                    <a:pt x="17500" y="16653"/>
                    <a:pt x="17600" y="16610"/>
                  </a:cubicBezTo>
                  <a:cubicBezTo>
                    <a:pt x="17600" y="16610"/>
                    <a:pt x="17600" y="16610"/>
                    <a:pt x="17600" y="16610"/>
                  </a:cubicBezTo>
                  <a:cubicBezTo>
                    <a:pt x="19100" y="17839"/>
                    <a:pt x="19100" y="17839"/>
                    <a:pt x="19100" y="17839"/>
                  </a:cubicBezTo>
                  <a:cubicBezTo>
                    <a:pt x="17450" y="18898"/>
                    <a:pt x="15500" y="19575"/>
                    <a:pt x="13450" y="19745"/>
                  </a:cubicBezTo>
                  <a:close/>
                </a:path>
              </a:pathLst>
            </a:custGeom>
            <a:solidFill>
              <a:srgbClr val="00758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5" name="Freeform 5">
            <a:extLst>
              <a:ext uri="{FF2B5EF4-FFF2-40B4-BE49-F238E27FC236}">
                <a16:creationId xmlns:a16="http://schemas.microsoft.com/office/drawing/2014/main" id="{33B57C85-2F31-4D65-8EA2-156CB832E6A2}"/>
              </a:ext>
            </a:extLst>
          </p:cNvPr>
          <p:cNvSpPr/>
          <p:nvPr/>
        </p:nvSpPr>
        <p:spPr>
          <a:xfrm>
            <a:off x="7456941" y="5366"/>
            <a:ext cx="4751388" cy="6862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866" y="0"/>
                </a:moveTo>
                <a:cubicBezTo>
                  <a:pt x="7621" y="516"/>
                  <a:pt x="6453" y="1138"/>
                  <a:pt x="5400" y="1866"/>
                </a:cubicBezTo>
                <a:cubicBezTo>
                  <a:pt x="1915" y="4249"/>
                  <a:pt x="0" y="7425"/>
                  <a:pt x="0" y="10800"/>
                </a:cubicBezTo>
                <a:cubicBezTo>
                  <a:pt x="0" y="14175"/>
                  <a:pt x="1915" y="17351"/>
                  <a:pt x="5400" y="19734"/>
                </a:cubicBezTo>
                <a:cubicBezTo>
                  <a:pt x="6453" y="20462"/>
                  <a:pt x="7621" y="21084"/>
                  <a:pt x="8846" y="21600"/>
                </a:cubicBezTo>
                <a:cubicBezTo>
                  <a:pt x="15338" y="21600"/>
                  <a:pt x="15338" y="21600"/>
                  <a:pt x="15338" y="21600"/>
                </a:cubicBezTo>
                <a:cubicBezTo>
                  <a:pt x="15950" y="19932"/>
                  <a:pt x="15951" y="19932"/>
                  <a:pt x="15951" y="19932"/>
                </a:cubicBezTo>
                <a:cubicBezTo>
                  <a:pt x="16755" y="20038"/>
                  <a:pt x="17578" y="20091"/>
                  <a:pt x="18421" y="20091"/>
                </a:cubicBezTo>
                <a:cubicBezTo>
                  <a:pt x="19532" y="20091"/>
                  <a:pt x="20585" y="19999"/>
                  <a:pt x="21600" y="19840"/>
                </a:cubicBezTo>
                <a:lnTo>
                  <a:pt x="21600" y="18344"/>
                </a:lnTo>
                <a:cubicBezTo>
                  <a:pt x="20604" y="18542"/>
                  <a:pt x="19532" y="18648"/>
                  <a:pt x="18421" y="18648"/>
                </a:cubicBezTo>
                <a:cubicBezTo>
                  <a:pt x="12121" y="18648"/>
                  <a:pt x="6990" y="15128"/>
                  <a:pt x="6990" y="10800"/>
                </a:cubicBezTo>
                <a:cubicBezTo>
                  <a:pt x="6990" y="6472"/>
                  <a:pt x="12121" y="2952"/>
                  <a:pt x="18421" y="2952"/>
                </a:cubicBezTo>
                <a:cubicBezTo>
                  <a:pt x="19532" y="2952"/>
                  <a:pt x="20604" y="3057"/>
                  <a:pt x="21600" y="3269"/>
                </a:cubicBezTo>
                <a:cubicBezTo>
                  <a:pt x="21600" y="1760"/>
                  <a:pt x="21600" y="1760"/>
                  <a:pt x="21600" y="1760"/>
                </a:cubicBezTo>
                <a:cubicBezTo>
                  <a:pt x="20585" y="1601"/>
                  <a:pt x="19532" y="1509"/>
                  <a:pt x="18421" y="1509"/>
                </a:cubicBezTo>
                <a:cubicBezTo>
                  <a:pt x="17598" y="1509"/>
                  <a:pt x="16775" y="1562"/>
                  <a:pt x="15971" y="1668"/>
                </a:cubicBezTo>
                <a:cubicBezTo>
                  <a:pt x="15358" y="0"/>
                  <a:pt x="15357" y="0"/>
                  <a:pt x="15357" y="0"/>
                </a:cubicBezTo>
                <a:cubicBezTo>
                  <a:pt x="8866" y="0"/>
                  <a:pt x="8866" y="0"/>
                  <a:pt x="8866" y="0"/>
                </a:cubicBezTo>
                <a:close/>
                <a:moveTo>
                  <a:pt x="13194" y="199"/>
                </a:moveTo>
                <a:cubicBezTo>
                  <a:pt x="13884" y="2052"/>
                  <a:pt x="13883" y="2051"/>
                  <a:pt x="13883" y="2051"/>
                </a:cubicBezTo>
                <a:cubicBezTo>
                  <a:pt x="8962" y="3256"/>
                  <a:pt x="5362" y="6353"/>
                  <a:pt x="4922" y="10046"/>
                </a:cubicBezTo>
                <a:cubicBezTo>
                  <a:pt x="2145" y="10046"/>
                  <a:pt x="2145" y="10046"/>
                  <a:pt x="2145" y="10046"/>
                </a:cubicBezTo>
                <a:cubicBezTo>
                  <a:pt x="2586" y="5466"/>
                  <a:pt x="7086" y="1615"/>
                  <a:pt x="13194" y="199"/>
                </a:cubicBezTo>
                <a:close/>
                <a:moveTo>
                  <a:pt x="18403" y="6068"/>
                </a:moveTo>
                <a:cubicBezTo>
                  <a:pt x="14631" y="6068"/>
                  <a:pt x="11547" y="8186"/>
                  <a:pt x="11547" y="10794"/>
                </a:cubicBezTo>
                <a:cubicBezTo>
                  <a:pt x="11547" y="13414"/>
                  <a:pt x="14631" y="15532"/>
                  <a:pt x="18403" y="15532"/>
                </a:cubicBezTo>
                <a:cubicBezTo>
                  <a:pt x="19552" y="15532"/>
                  <a:pt x="20643" y="15334"/>
                  <a:pt x="21600" y="14990"/>
                </a:cubicBezTo>
                <a:cubicBezTo>
                  <a:pt x="21600" y="13243"/>
                  <a:pt x="21600" y="13242"/>
                  <a:pt x="21600" y="13242"/>
                </a:cubicBezTo>
                <a:cubicBezTo>
                  <a:pt x="20757" y="13771"/>
                  <a:pt x="19628" y="14089"/>
                  <a:pt x="18403" y="14089"/>
                </a:cubicBezTo>
                <a:cubicBezTo>
                  <a:pt x="15780" y="14089"/>
                  <a:pt x="13634" y="12607"/>
                  <a:pt x="13634" y="10794"/>
                </a:cubicBezTo>
                <a:cubicBezTo>
                  <a:pt x="13634" y="8994"/>
                  <a:pt x="15780" y="7511"/>
                  <a:pt x="18403" y="7511"/>
                </a:cubicBezTo>
                <a:cubicBezTo>
                  <a:pt x="19628" y="7511"/>
                  <a:pt x="20757" y="7829"/>
                  <a:pt x="21600" y="8358"/>
                </a:cubicBezTo>
                <a:cubicBezTo>
                  <a:pt x="21600" y="6611"/>
                  <a:pt x="21600" y="6610"/>
                  <a:pt x="21600" y="6610"/>
                </a:cubicBezTo>
                <a:cubicBezTo>
                  <a:pt x="20643" y="6266"/>
                  <a:pt x="19552" y="6068"/>
                  <a:pt x="18403" y="6068"/>
                </a:cubicBezTo>
                <a:close/>
                <a:moveTo>
                  <a:pt x="2145" y="11541"/>
                </a:moveTo>
                <a:cubicBezTo>
                  <a:pt x="4922" y="11541"/>
                  <a:pt x="4922" y="11541"/>
                  <a:pt x="4922" y="11541"/>
                </a:cubicBezTo>
                <a:cubicBezTo>
                  <a:pt x="5343" y="15233"/>
                  <a:pt x="8943" y="18331"/>
                  <a:pt x="13846" y="19549"/>
                </a:cubicBezTo>
                <a:lnTo>
                  <a:pt x="13174" y="21401"/>
                </a:lnTo>
                <a:cubicBezTo>
                  <a:pt x="7066" y="19972"/>
                  <a:pt x="2586" y="16120"/>
                  <a:pt x="2145" y="11541"/>
                </a:cubicBezTo>
                <a:close/>
              </a:path>
            </a:pathLst>
          </a:custGeom>
          <a:solidFill>
            <a:srgbClr val="338592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7116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lang="ru-RU" sz="2800" b="1">
                <a:solidFill>
                  <a:srgbClr val="002554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ОБЗОР РЫНКА ДОЛГОВЫХ ЦЕННЫХ БУМАГ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906562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DC0974C-8A62-8D6F-D2FD-2C64C01FB999}"/>
              </a:ext>
            </a:extLst>
          </p:cNvPr>
          <p:cNvSpPr txBox="1"/>
          <p:nvPr/>
        </p:nvSpPr>
        <p:spPr>
          <a:xfrm>
            <a:off x="6521480" y="1751768"/>
            <a:ext cx="2044962" cy="3058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69081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долговыми бумагами - общая сумма долговых ценных бумаг, которые покупаются и продаются на финансовых рынках в течение определенного периода</a:t>
            </a:r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ноябре 2024 г. как количество листингов долговых обязательств, так и количество эмитентов на Бирже МФЦА выросли: зафиксировано 14 новых листингов и 8 новых эмитентов. Объем торгов долговыми обязательствами на Бирже МФЦА за 11 месяцев 2024 г. достиг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731 млн, из которых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112 млн торговались в ноябре 2024 г.</a:t>
            </a:r>
            <a:endParaRPr lang="en-US" sz="1200" dirty="0">
              <a:highlight>
                <a:srgbClr val="FFFF00"/>
              </a:highlight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EF8A265-7911-B274-2E61-42A4C8C332CC}"/>
              </a:ext>
            </a:extLst>
          </p:cNvPr>
          <p:cNvSpPr txBox="1"/>
          <p:nvPr/>
        </p:nvSpPr>
        <p:spPr>
          <a:xfrm>
            <a:off x="6521480" y="2529007"/>
            <a:ext cx="17646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2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12 млн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</a:t>
            </a:r>
            <a:b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ноябре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lang="en-US" sz="14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BA702ED6-5EC1-1D8B-8587-A5C8A893CC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0958175"/>
              </p:ext>
            </p:extLst>
          </p:nvPr>
        </p:nvGraphicFramePr>
        <p:xfrm>
          <a:off x="7166182" y="2204065"/>
          <a:ext cx="4194302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2EB8B81-C04E-5CE2-991B-CB535D56FB5D}"/>
              </a:ext>
            </a:extLst>
          </p:cNvPr>
          <p:cNvSpPr txBox="1"/>
          <p:nvPr/>
        </p:nvSpPr>
        <p:spPr>
          <a:xfrm>
            <a:off x="1115791" y="2395657"/>
            <a:ext cx="1339191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18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щее количество листингов долговых ценных бумаг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19E2B3-3944-82B4-F61B-53FD4E6C72CA}"/>
              </a:ext>
            </a:extLst>
          </p:cNvPr>
          <p:cNvSpPr txBox="1"/>
          <p:nvPr/>
        </p:nvSpPr>
        <p:spPr>
          <a:xfrm>
            <a:off x="927042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Большое количество доступных долговых ценных бумаг предоставляет инвесторам более широкий выбор инвестиций.</a:t>
            </a:r>
            <a:endParaRPr lang="en-US" sz="1100">
              <a:highlight>
                <a:srgbClr val="FFFF00"/>
              </a:highlight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719B2AA-9C85-1810-D9D5-F90133248D43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843A309-C9E9-5BD9-2486-FF8ECDA43E49}"/>
              </a:ext>
            </a:extLst>
          </p:cNvPr>
          <p:cNvSpPr txBox="1"/>
          <p:nvPr/>
        </p:nvSpPr>
        <p:spPr>
          <a:xfrm>
            <a:off x="1115791" y="1749808"/>
            <a:ext cx="282483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ЛИСТИНГИ И</a:t>
            </a:r>
            <a: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ЭМИТЕНТ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B1E4AA-5F41-B421-DFB8-2E354C845695}"/>
              </a:ext>
            </a:extLst>
          </p:cNvPr>
          <p:cNvSpPr txBox="1"/>
          <p:nvPr/>
        </p:nvSpPr>
        <p:spPr>
          <a:xfrm>
            <a:off x="1115791" y="3804021"/>
            <a:ext cx="1095781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+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4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листингов в ноябре 202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1B28D46-C501-5BE0-A030-B94A343E79B0}"/>
              </a:ext>
            </a:extLst>
          </p:cNvPr>
          <p:cNvSpPr txBox="1"/>
          <p:nvPr/>
        </p:nvSpPr>
        <p:spPr>
          <a:xfrm>
            <a:off x="7223290" y="4666130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-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C194AB-A775-7357-170B-8E98BDA1B600}"/>
              </a:ext>
            </a:extLst>
          </p:cNvPr>
          <p:cNvSpPr txBox="1"/>
          <p:nvPr/>
        </p:nvSpPr>
        <p:spPr>
          <a:xfrm>
            <a:off x="7789845" y="4330421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/>
              <a:t>$1</a:t>
            </a:r>
            <a:endParaRPr lang="ru-RU" sz="1050"/>
          </a:p>
          <a:p>
            <a:r>
              <a:rPr lang="ru-RU" sz="1050"/>
              <a:t>млн</a:t>
            </a:r>
            <a:endParaRPr lang="en-US" sz="10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8E44EC-AB29-FFE0-4450-6758E81086EA}"/>
              </a:ext>
            </a:extLst>
          </p:cNvPr>
          <p:cNvSpPr txBox="1"/>
          <p:nvPr/>
        </p:nvSpPr>
        <p:spPr>
          <a:xfrm>
            <a:off x="8352842" y="4246564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25</a:t>
            </a:r>
            <a:endParaRPr lang="ru-RU" sz="1050" dirty="0"/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F2915C-C063-7E7B-A310-75F3715BEE63}"/>
              </a:ext>
            </a:extLst>
          </p:cNvPr>
          <p:cNvSpPr txBox="1"/>
          <p:nvPr/>
        </p:nvSpPr>
        <p:spPr>
          <a:xfrm>
            <a:off x="8908658" y="3566589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/>
              <a:t>$217</a:t>
            </a:r>
            <a:endParaRPr lang="ru-RU" sz="1050"/>
          </a:p>
          <a:p>
            <a:r>
              <a:rPr lang="ru-RU" sz="1050"/>
              <a:t>млн</a:t>
            </a:r>
            <a:endParaRPr lang="en-US" sz="105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2B11BDB-CDE9-3869-1877-5C0FC292CB12}"/>
              </a:ext>
            </a:extLst>
          </p:cNvPr>
          <p:cNvSpPr txBox="1"/>
          <p:nvPr/>
        </p:nvSpPr>
        <p:spPr>
          <a:xfrm>
            <a:off x="9465420" y="3960271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106</a:t>
            </a:r>
            <a:endParaRPr lang="ru-RU" sz="1050" dirty="0"/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58490BC-7749-B796-7711-784F36DC5639}"/>
              </a:ext>
            </a:extLst>
          </p:cNvPr>
          <p:cNvSpPr txBox="1"/>
          <p:nvPr/>
        </p:nvSpPr>
        <p:spPr>
          <a:xfrm>
            <a:off x="10010067" y="2751747"/>
            <a:ext cx="761993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452</a:t>
            </a:r>
            <a:endParaRPr lang="ru-RU" sz="1050" dirty="0"/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031277-3AC6-34C5-B260-651E444DBD71}"/>
              </a:ext>
            </a:extLst>
          </p:cNvPr>
          <p:cNvSpPr txBox="1"/>
          <p:nvPr/>
        </p:nvSpPr>
        <p:spPr>
          <a:xfrm>
            <a:off x="10588936" y="2114917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</a:t>
            </a:r>
            <a:r>
              <a:rPr lang="ru-RU" sz="1050" dirty="0"/>
              <a:t>731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grpSp>
        <p:nvGrpSpPr>
          <p:cNvPr id="28" name="Group 12">
            <a:extLst>
              <a:ext uri="{FF2B5EF4-FFF2-40B4-BE49-F238E27FC236}">
                <a16:creationId xmlns:a16="http://schemas.microsoft.com/office/drawing/2014/main" id="{DB27CBB1-399D-69B3-7E8F-96D5170A3926}"/>
              </a:ext>
            </a:extLst>
          </p:cNvPr>
          <p:cNvGrpSpPr/>
          <p:nvPr/>
        </p:nvGrpSpPr>
        <p:grpSpPr>
          <a:xfrm>
            <a:off x="2136384" y="4941904"/>
            <a:ext cx="1265086" cy="276999"/>
            <a:chOff x="6470624" y="5013777"/>
            <a:chExt cx="1265086" cy="27699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B5AB1BD-45BB-A028-96B6-B16AEC0D201E}"/>
                </a:ext>
              </a:extLst>
            </p:cNvPr>
            <p:cNvSpPr txBox="1"/>
            <p:nvPr/>
          </p:nvSpPr>
          <p:spPr>
            <a:xfrm>
              <a:off x="6726936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Листинги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57E9FB4D-AFA4-31DA-D82D-852E5E7FBA18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15">
            <a:extLst>
              <a:ext uri="{FF2B5EF4-FFF2-40B4-BE49-F238E27FC236}">
                <a16:creationId xmlns:a16="http://schemas.microsoft.com/office/drawing/2014/main" id="{D2A6312A-E733-3BE6-45A0-CF1D17FAFA9D}"/>
              </a:ext>
            </a:extLst>
          </p:cNvPr>
          <p:cNvGrpSpPr/>
          <p:nvPr/>
        </p:nvGrpSpPr>
        <p:grpSpPr>
          <a:xfrm>
            <a:off x="3337094" y="4941904"/>
            <a:ext cx="1276264" cy="276999"/>
            <a:chOff x="7697681" y="5013777"/>
            <a:chExt cx="1276264" cy="276999"/>
          </a:xfrm>
        </p:grpSpPr>
        <p:sp>
          <p:nvSpPr>
            <p:cNvPr id="36" name="Rectangle 16">
              <a:extLst>
                <a:ext uri="{FF2B5EF4-FFF2-40B4-BE49-F238E27FC236}">
                  <a16:creationId xmlns:a16="http://schemas.microsoft.com/office/drawing/2014/main" id="{25FBC374-2D04-403F-24E8-D55103E8E349}"/>
                </a:ext>
              </a:extLst>
            </p:cNvPr>
            <p:cNvSpPr/>
            <p:nvPr/>
          </p:nvSpPr>
          <p:spPr>
            <a:xfrm>
              <a:off x="7697681" y="5104885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C51973B-A3A8-2EF9-7B7B-7F499EE2C994}"/>
                </a:ext>
              </a:extLst>
            </p:cNvPr>
            <p:cNvSpPr txBox="1"/>
            <p:nvPr/>
          </p:nvSpPr>
          <p:spPr>
            <a:xfrm>
              <a:off x="7972037" y="5013777"/>
              <a:ext cx="1001908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Эмитенты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270B7733-DAEE-97AE-6A87-95B26FDEC2E4}"/>
              </a:ext>
            </a:extLst>
          </p:cNvPr>
          <p:cNvSpPr txBox="1"/>
          <p:nvPr/>
        </p:nvSpPr>
        <p:spPr>
          <a:xfrm>
            <a:off x="4915761" y="4849570"/>
            <a:ext cx="11948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Новые листинги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cxnSp>
        <p:nvCxnSpPr>
          <p:cNvPr id="39" name="Straight Connector 21">
            <a:extLst>
              <a:ext uri="{FF2B5EF4-FFF2-40B4-BE49-F238E27FC236}">
                <a16:creationId xmlns:a16="http://schemas.microsoft.com/office/drawing/2014/main" id="{4391629F-A0A5-4951-FC32-497C3CFB6F74}"/>
              </a:ext>
            </a:extLst>
          </p:cNvPr>
          <p:cNvCxnSpPr>
            <a:cxnSpLocks/>
          </p:cNvCxnSpPr>
          <p:nvPr/>
        </p:nvCxnSpPr>
        <p:spPr>
          <a:xfrm>
            <a:off x="4637387" y="5060055"/>
            <a:ext cx="269082" cy="0"/>
          </a:xfrm>
          <a:prstGeom prst="line">
            <a:avLst/>
          </a:prstGeom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26">
            <a:extLst>
              <a:ext uri="{FF2B5EF4-FFF2-40B4-BE49-F238E27FC236}">
                <a16:creationId xmlns:a16="http://schemas.microsoft.com/office/drawing/2014/main" id="{1D8F972B-BA86-E0E5-4921-D94C14258673}"/>
              </a:ext>
            </a:extLst>
          </p:cNvPr>
          <p:cNvSpPr/>
          <p:nvPr/>
        </p:nvSpPr>
        <p:spPr>
          <a:xfrm>
            <a:off x="4733112" y="5023135"/>
            <a:ext cx="85726" cy="82640"/>
          </a:xfrm>
          <a:prstGeom prst="ellipse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" name="Chart 11">
            <a:extLst>
              <a:ext uri="{FF2B5EF4-FFF2-40B4-BE49-F238E27FC236}">
                <a16:creationId xmlns:a16="http://schemas.microsoft.com/office/drawing/2014/main" id="{DD0D4B72-8948-4F64-61CD-6BDD5C87A9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3884287"/>
              </p:ext>
            </p:extLst>
          </p:nvPr>
        </p:nvGraphicFramePr>
        <p:xfrm>
          <a:off x="1985818" y="2702438"/>
          <a:ext cx="4310337" cy="2140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28">
            <a:extLst>
              <a:ext uri="{FF2B5EF4-FFF2-40B4-BE49-F238E27FC236}">
                <a16:creationId xmlns:a16="http://schemas.microsoft.com/office/drawing/2014/main" id="{D74FCFA6-CF5E-699E-F310-9A0E9ED742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978583"/>
              </p:ext>
            </p:extLst>
          </p:nvPr>
        </p:nvGraphicFramePr>
        <p:xfrm>
          <a:off x="2044556" y="2191842"/>
          <a:ext cx="3940895" cy="65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2786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8">
            <a:extLst>
              <a:ext uri="{FF2B5EF4-FFF2-40B4-BE49-F238E27FC236}">
                <a16:creationId xmlns:a16="http://schemas.microsoft.com/office/drawing/2014/main" id="{5B971366-1A57-41F1-E8DA-0720D2F5A926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lang="ru-RU" sz="2800" b="1">
                <a:solidFill>
                  <a:srgbClr val="002554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ПРИВЛЕЧЕННЫЙ ДОЛГОВОЙ КАПИТАЛ</a:t>
            </a:r>
            <a:endParaRPr kumimoji="0" lang="ru-RU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37319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Разбивка по отраслям показывает, какую долю занимают определенные отрасли от общего объема привлеченного долгового капитала</a:t>
            </a:r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ru-RU" sz="1200" dirty="0">
                <a:latin typeface="Montserrat"/>
                <a:cs typeface="Mongolian Baiti"/>
              </a:rPr>
              <a:t>Объем привлеченного долгового капитала на Бирже МФЦА увеличился на $</a:t>
            </a:r>
            <a:r>
              <a:rPr lang="en-US" sz="1200" dirty="0">
                <a:latin typeface="Montserrat"/>
                <a:cs typeface="Mongolian Baiti"/>
              </a:rPr>
              <a:t>159</a:t>
            </a:r>
            <a:r>
              <a:rPr lang="ru-RU" sz="1200" dirty="0">
                <a:latin typeface="Montserrat"/>
                <a:cs typeface="Mongolian Baiti"/>
              </a:rPr>
              <a:t> млн, составив $6,</a:t>
            </a:r>
            <a:r>
              <a:rPr lang="en-US" sz="1200" dirty="0">
                <a:latin typeface="Montserrat"/>
                <a:cs typeface="Mongolian Baiti"/>
              </a:rPr>
              <a:t>4</a:t>
            </a:r>
            <a:r>
              <a:rPr lang="ru-RU" sz="1200" dirty="0">
                <a:latin typeface="Montserrat"/>
                <a:cs typeface="Mongolian Baiti"/>
              </a:rPr>
              <a:t> млрд. Распределение инвестиций по отраслям изменилось незначительно, по-прежнему лидируют следующие направления: инвестиционная деятельность, нефть и газ и государственные ценные бумаги.</a:t>
            </a:r>
            <a:endParaRPr lang="en-US" sz="1200" dirty="0">
              <a:latin typeface="Montserrat"/>
              <a:cs typeface="Mongolian Baiti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8C496C71-269A-1E01-0024-A3A97E2D26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4664169"/>
              </p:ext>
            </p:extLst>
          </p:nvPr>
        </p:nvGraphicFramePr>
        <p:xfrm>
          <a:off x="5664442" y="2200166"/>
          <a:ext cx="4064128" cy="270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" name="TextBox 39">
            <a:extLst>
              <a:ext uri="{FF2B5EF4-FFF2-40B4-BE49-F238E27FC236}">
                <a16:creationId xmlns:a16="http://schemas.microsoft.com/office/drawing/2014/main" id="{88B7E495-6C2F-683D-E509-133C287E7AB5}"/>
              </a:ext>
            </a:extLst>
          </p:cNvPr>
          <p:cNvSpPr txBox="1"/>
          <p:nvPr/>
        </p:nvSpPr>
        <p:spPr>
          <a:xfrm>
            <a:off x="6521480" y="1751766"/>
            <a:ext cx="282572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АЗБИВКА ПО ОТРАСЛЯМ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BE8CD8-94C1-7202-0DBE-3853E3A66AD5}"/>
              </a:ext>
            </a:extLst>
          </p:cNvPr>
          <p:cNvSpPr txBox="1"/>
          <p:nvPr/>
        </p:nvSpPr>
        <p:spPr>
          <a:xfrm>
            <a:off x="1115791" y="2192110"/>
            <a:ext cx="17038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6,4 млрд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Привлеченный долговой капитал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0CAE96-5F9C-ACCC-9EFD-BFC6551FC96D}"/>
              </a:ext>
            </a:extLst>
          </p:cNvPr>
          <p:cNvSpPr txBox="1"/>
          <p:nvPr/>
        </p:nvSpPr>
        <p:spPr>
          <a:xfrm>
            <a:off x="1115791" y="3063795"/>
            <a:ext cx="170388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+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59 млн</a:t>
            </a:r>
            <a:br>
              <a:rPr lang="en-US" sz="14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Привлеченный долговой </a:t>
            </a:r>
            <a:b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капитал в </a:t>
            </a:r>
            <a:b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ноябре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11D01-3C44-AB29-7038-3BCDCF464DAB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556E7A-EC88-D8F3-3AAA-0CE02B869EF7}"/>
              </a:ext>
            </a:extLst>
          </p:cNvPr>
          <p:cNvSpPr txBox="1"/>
          <p:nvPr/>
        </p:nvSpPr>
        <p:spPr>
          <a:xfrm>
            <a:off x="1115791" y="1749807"/>
            <a:ext cx="238757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ДОЛГОВОЙ КАПИТАЛ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60F543-32C0-B72C-E262-7F93A00830E2}"/>
              </a:ext>
            </a:extLst>
          </p:cNvPr>
          <p:cNvSpPr txBox="1"/>
          <p:nvPr/>
        </p:nvSpPr>
        <p:spPr>
          <a:xfrm>
            <a:off x="927042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Долговой капитал - это средства, которые компании привлекают путем выпуска различных видов облигаций для инвесторов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FF51F1D-E066-05BB-12E1-35E8B51286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6946436"/>
              </p:ext>
            </p:extLst>
          </p:nvPr>
        </p:nvGraphicFramePr>
        <p:xfrm>
          <a:off x="1806766" y="2204065"/>
          <a:ext cx="4221893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B20CDE3B-02CB-A8F6-B512-0699B4805E64}"/>
              </a:ext>
            </a:extLst>
          </p:cNvPr>
          <p:cNvSpPr txBox="1"/>
          <p:nvPr/>
        </p:nvSpPr>
        <p:spPr>
          <a:xfrm>
            <a:off x="1879286" y="4654938"/>
            <a:ext cx="692721" cy="2616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100">
                <a:latin typeface="Montserrat" panose="00000500000000000000" pitchFamily="2" charset="-52"/>
              </a:rPr>
              <a:t>-</a:t>
            </a:r>
            <a:endParaRPr kumimoji="0" lang="en-US" sz="11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B196EA7-439E-0271-9871-8455A5EEC67A}"/>
              </a:ext>
            </a:extLst>
          </p:cNvPr>
          <p:cNvSpPr txBox="1"/>
          <p:nvPr/>
        </p:nvSpPr>
        <p:spPr>
          <a:xfrm>
            <a:off x="2522916" y="3534763"/>
            <a:ext cx="5334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813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A9A99B5-2D07-5E57-5D08-7AE2404145B6}"/>
              </a:ext>
            </a:extLst>
          </p:cNvPr>
          <p:cNvSpPr txBox="1"/>
          <p:nvPr/>
        </p:nvSpPr>
        <p:spPr>
          <a:xfrm>
            <a:off x="3049173" y="4182495"/>
            <a:ext cx="614717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148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6D80B88-1D1A-5302-B59F-5F0F6C30A810}"/>
              </a:ext>
            </a:extLst>
          </p:cNvPr>
          <p:cNvSpPr txBox="1"/>
          <p:nvPr/>
        </p:nvSpPr>
        <p:spPr>
          <a:xfrm>
            <a:off x="3644638" y="3628300"/>
            <a:ext cx="5334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708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58206E-6AF1-9A7B-B393-446E8D73898B}"/>
              </a:ext>
            </a:extLst>
          </p:cNvPr>
          <p:cNvSpPr txBox="1"/>
          <p:nvPr/>
        </p:nvSpPr>
        <p:spPr>
          <a:xfrm>
            <a:off x="4210003" y="3778385"/>
            <a:ext cx="518568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557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7D98D88-CFF5-0777-DAC4-4007F9EA6891}"/>
              </a:ext>
            </a:extLst>
          </p:cNvPr>
          <p:cNvSpPr txBox="1"/>
          <p:nvPr/>
        </p:nvSpPr>
        <p:spPr>
          <a:xfrm>
            <a:off x="4780138" y="2396892"/>
            <a:ext cx="517295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2</a:t>
            </a:r>
            <a:r>
              <a:rPr lang="ru-RU" sz="1050" dirty="0">
                <a:latin typeface="Montserrat" panose="00000500000000000000" pitchFamily="2" charset="-52"/>
              </a:rPr>
              <a:t> млрд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3A6160-9C69-6208-E6C0-CB81E01F8512}"/>
              </a:ext>
            </a:extLst>
          </p:cNvPr>
          <p:cNvSpPr txBox="1"/>
          <p:nvPr/>
        </p:nvSpPr>
        <p:spPr>
          <a:xfrm>
            <a:off x="5340758" y="2196091"/>
            <a:ext cx="53951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</a:t>
            </a:r>
            <a:r>
              <a:rPr lang="ru-RU" sz="1050" dirty="0">
                <a:latin typeface="Montserrat" panose="00000500000000000000" pitchFamily="2" charset="-52"/>
              </a:rPr>
              <a:t>2,2 млрд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</a:endParaRPr>
          </a:p>
        </p:txBody>
      </p:sp>
      <p:grpSp>
        <p:nvGrpSpPr>
          <p:cNvPr id="33" name="Group 23">
            <a:extLst>
              <a:ext uri="{FF2B5EF4-FFF2-40B4-BE49-F238E27FC236}">
                <a16:creationId xmlns:a16="http://schemas.microsoft.com/office/drawing/2014/main" id="{C85BDDE0-2E44-9BD8-D8E9-4C380FB26FFC}"/>
              </a:ext>
            </a:extLst>
          </p:cNvPr>
          <p:cNvGrpSpPr/>
          <p:nvPr/>
        </p:nvGrpSpPr>
        <p:grpSpPr>
          <a:xfrm>
            <a:off x="9233713" y="2750874"/>
            <a:ext cx="2410690" cy="1954381"/>
            <a:chOff x="8907067" y="2506731"/>
            <a:chExt cx="2410690" cy="195438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18B3BEE-4209-55B2-ADEF-184DAC582F2F}"/>
                </a:ext>
              </a:extLst>
            </p:cNvPr>
            <p:cNvSpPr txBox="1"/>
            <p:nvPr/>
          </p:nvSpPr>
          <p:spPr>
            <a:xfrm>
              <a:off x="9382130" y="2506731"/>
              <a:ext cx="1935627" cy="19543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Инвестиционная деятельность</a:t>
              </a:r>
            </a:p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Нефть и газ</a:t>
              </a:r>
            </a:p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Гос. управление</a:t>
              </a:r>
            </a:p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Логистика</a:t>
              </a:r>
            </a:p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Банковское деятельность</a:t>
              </a:r>
            </a:p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Прочее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35" name="Rectangle 25">
              <a:extLst>
                <a:ext uri="{FF2B5EF4-FFF2-40B4-BE49-F238E27FC236}">
                  <a16:creationId xmlns:a16="http://schemas.microsoft.com/office/drawing/2014/main" id="{6E6A085B-C4B6-96A9-7A34-6F71DCD5162E}"/>
                </a:ext>
              </a:extLst>
            </p:cNvPr>
            <p:cNvSpPr/>
            <p:nvPr/>
          </p:nvSpPr>
          <p:spPr>
            <a:xfrm>
              <a:off x="8907067" y="2682168"/>
              <a:ext cx="476794" cy="114688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26">
              <a:extLst>
                <a:ext uri="{FF2B5EF4-FFF2-40B4-BE49-F238E27FC236}">
                  <a16:creationId xmlns:a16="http://schemas.microsoft.com/office/drawing/2014/main" id="{0A528B97-4121-0F51-E0F2-56B0011BAAE2}"/>
                </a:ext>
              </a:extLst>
            </p:cNvPr>
            <p:cNvSpPr/>
            <p:nvPr/>
          </p:nvSpPr>
          <p:spPr>
            <a:xfrm>
              <a:off x="8907067" y="3033967"/>
              <a:ext cx="476794" cy="114688"/>
            </a:xfrm>
            <a:prstGeom prst="rect">
              <a:avLst/>
            </a:prstGeom>
            <a:solidFill>
              <a:srgbClr val="00697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27">
              <a:extLst>
                <a:ext uri="{FF2B5EF4-FFF2-40B4-BE49-F238E27FC236}">
                  <a16:creationId xmlns:a16="http://schemas.microsoft.com/office/drawing/2014/main" id="{C1A4CF8B-EB4A-6EDD-C053-D719534E110F}"/>
                </a:ext>
              </a:extLst>
            </p:cNvPr>
            <p:cNvSpPr/>
            <p:nvPr/>
          </p:nvSpPr>
          <p:spPr>
            <a:xfrm>
              <a:off x="8907067" y="3288019"/>
              <a:ext cx="476794" cy="114688"/>
            </a:xfrm>
            <a:prstGeom prst="rect">
              <a:avLst/>
            </a:prstGeom>
            <a:solidFill>
              <a:srgbClr val="549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28">
              <a:extLst>
                <a:ext uri="{FF2B5EF4-FFF2-40B4-BE49-F238E27FC236}">
                  <a16:creationId xmlns:a16="http://schemas.microsoft.com/office/drawing/2014/main" id="{25E07BAF-5A66-51FF-39D8-7ABAA0B82809}"/>
                </a:ext>
              </a:extLst>
            </p:cNvPr>
            <p:cNvSpPr/>
            <p:nvPr/>
          </p:nvSpPr>
          <p:spPr>
            <a:xfrm>
              <a:off x="8907067" y="3542071"/>
              <a:ext cx="476794" cy="126157"/>
            </a:xfrm>
            <a:prstGeom prst="rect">
              <a:avLst/>
            </a:prstGeom>
            <a:solidFill>
              <a:srgbClr val="26A6B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31">
              <a:extLst>
                <a:ext uri="{FF2B5EF4-FFF2-40B4-BE49-F238E27FC236}">
                  <a16:creationId xmlns:a16="http://schemas.microsoft.com/office/drawing/2014/main" id="{7EEA7543-3DF9-9F91-CC9C-7F711791CB30}"/>
                </a:ext>
              </a:extLst>
            </p:cNvPr>
            <p:cNvSpPr/>
            <p:nvPr/>
          </p:nvSpPr>
          <p:spPr>
            <a:xfrm>
              <a:off x="8907067" y="3900066"/>
              <a:ext cx="476794" cy="126157"/>
            </a:xfrm>
            <a:prstGeom prst="rect">
              <a:avLst/>
            </a:prstGeom>
            <a:solidFill>
              <a:srgbClr val="82C6D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35">
              <a:extLst>
                <a:ext uri="{FF2B5EF4-FFF2-40B4-BE49-F238E27FC236}">
                  <a16:creationId xmlns:a16="http://schemas.microsoft.com/office/drawing/2014/main" id="{848940C5-A78F-A9DB-72C4-F289E874F086}"/>
                </a:ext>
              </a:extLst>
            </p:cNvPr>
            <p:cNvSpPr/>
            <p:nvPr/>
          </p:nvSpPr>
          <p:spPr>
            <a:xfrm>
              <a:off x="8907067" y="4258061"/>
              <a:ext cx="476794" cy="126157"/>
            </a:xfrm>
            <a:prstGeom prst="rect">
              <a:avLst/>
            </a:prstGeom>
            <a:solidFill>
              <a:srgbClr val="B4C7E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9856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8B43C-A8F8-4358-715C-ED5317BE68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2">
            <a:extLst>
              <a:ext uri="{FF2B5EF4-FFF2-40B4-BE49-F238E27FC236}">
                <a16:creationId xmlns:a16="http://schemas.microsoft.com/office/drawing/2014/main" id="{7B667DB8-D35A-F5AE-6F7D-28574DDCB6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9971982"/>
              </p:ext>
            </p:extLst>
          </p:nvPr>
        </p:nvGraphicFramePr>
        <p:xfrm>
          <a:off x="786349" y="926909"/>
          <a:ext cx="10499915" cy="4725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4" name="Straight Connector 21">
            <a:extLst>
              <a:ext uri="{FF2B5EF4-FFF2-40B4-BE49-F238E27FC236}">
                <a16:creationId xmlns:a16="http://schemas.microsoft.com/office/drawing/2014/main" id="{45D2CB5D-B7BA-A566-48A9-9E64430E82FF}"/>
              </a:ext>
            </a:extLst>
          </p:cNvPr>
          <p:cNvCxnSpPr>
            <a:cxnSpLocks/>
          </p:cNvCxnSpPr>
          <p:nvPr/>
        </p:nvCxnSpPr>
        <p:spPr>
          <a:xfrm>
            <a:off x="874240" y="6490073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41ED2B3-E0E9-47BA-DBD0-358541B85716}"/>
              </a:ext>
            </a:extLst>
          </p:cNvPr>
          <p:cNvSpPr txBox="1"/>
          <p:nvPr/>
        </p:nvSpPr>
        <p:spPr>
          <a:xfrm>
            <a:off x="874241" y="354965"/>
            <a:ext cx="10061614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ДОХОДНОСТЬ КОРПОРАТИВНЫХ ОБЛИГАЦИЙ В 202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г.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3EF9EC-78C3-B040-413A-0C5C1814140E}"/>
              </a:ext>
            </a:extLst>
          </p:cNvPr>
          <p:cNvSpPr txBox="1"/>
          <p:nvPr/>
        </p:nvSpPr>
        <p:spPr>
          <a:xfrm>
            <a:off x="874240" y="6502895"/>
            <a:ext cx="4938158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900">
                <a:latin typeface="Montserrat" panose="00000500000000000000" pitchFamily="2" charset="-52"/>
                <a:cs typeface="Mongolian Baiti" panose="03000500000000000000" pitchFamily="66" charset="0"/>
              </a:rPr>
              <a:t>*</a:t>
            </a:r>
            <a:r>
              <a:rPr lang="ru-RU" sz="900">
                <a:latin typeface="Montserrat" panose="00000500000000000000" pitchFamily="2" charset="-52"/>
                <a:cs typeface="Mongolian Baiti" panose="03000500000000000000" pitchFamily="66" charset="0"/>
              </a:rPr>
              <a:t>Совет управляющих Федеральной резервной системы (США)</a:t>
            </a:r>
            <a:endParaRPr lang="en-US" sz="9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23" name="Straight Connector 21">
            <a:extLst>
              <a:ext uri="{FF2B5EF4-FFF2-40B4-BE49-F238E27FC236}">
                <a16:creationId xmlns:a16="http://schemas.microsoft.com/office/drawing/2014/main" id="{FE0F55CB-D270-466D-13E6-09AD4DCB3EEA}"/>
              </a:ext>
            </a:extLst>
          </p:cNvPr>
          <p:cNvCxnSpPr>
            <a:cxnSpLocks/>
          </p:cNvCxnSpPr>
          <p:nvPr/>
        </p:nvCxnSpPr>
        <p:spPr>
          <a:xfrm>
            <a:off x="874240" y="6490073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1">
            <a:extLst>
              <a:ext uri="{FF2B5EF4-FFF2-40B4-BE49-F238E27FC236}">
                <a16:creationId xmlns:a16="http://schemas.microsoft.com/office/drawing/2014/main" id="{8A003B71-30F7-C171-1374-CF6AEC1D976B}"/>
              </a:ext>
            </a:extLst>
          </p:cNvPr>
          <p:cNvCxnSpPr>
            <a:cxnSpLocks/>
          </p:cNvCxnSpPr>
          <p:nvPr/>
        </p:nvCxnSpPr>
        <p:spPr>
          <a:xfrm>
            <a:off x="874240" y="6490073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B8FF1FFB-3261-366E-456B-64839884A38C}"/>
              </a:ext>
            </a:extLst>
          </p:cNvPr>
          <p:cNvSpPr txBox="1"/>
          <p:nvPr/>
        </p:nvSpPr>
        <p:spPr>
          <a:xfrm>
            <a:off x="884760" y="5758975"/>
            <a:ext cx="521124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>
                <a:solidFill>
                  <a:srgbClr val="4BB5C8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Облигации, размещенные в иностранной валюте (</a:t>
            </a:r>
            <a:r>
              <a:rPr lang="en-US" sz="1100">
                <a:solidFill>
                  <a:srgbClr val="4BB5C8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USD/EUR)</a:t>
            </a:r>
          </a:p>
          <a:p>
            <a:r>
              <a:rPr lang="ru-RU" sz="1100">
                <a:latin typeface="Montserrat" panose="00000500000000000000" pitchFamily="2" charset="-52"/>
                <a:cs typeface="Mongolian Baiti" panose="03000500000000000000" pitchFamily="66" charset="0"/>
              </a:rPr>
              <a:t>Облигации, размещенные в тенге</a:t>
            </a:r>
            <a:endParaRPr lang="en-US" sz="105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28" name="Straight Connector 30">
            <a:extLst>
              <a:ext uri="{FF2B5EF4-FFF2-40B4-BE49-F238E27FC236}">
                <a16:creationId xmlns:a16="http://schemas.microsoft.com/office/drawing/2014/main" id="{97A049D0-B0C8-8722-7DE7-D41F36199AC1}"/>
              </a:ext>
            </a:extLst>
          </p:cNvPr>
          <p:cNvCxnSpPr>
            <a:cxnSpLocks/>
          </p:cNvCxnSpPr>
          <p:nvPr/>
        </p:nvCxnSpPr>
        <p:spPr>
          <a:xfrm>
            <a:off x="5989521" y="6095688"/>
            <a:ext cx="26908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DFB7CCA-5D5C-AEB2-821D-8EF05719A6EE}"/>
              </a:ext>
            </a:extLst>
          </p:cNvPr>
          <p:cNvSpPr txBox="1"/>
          <p:nvPr/>
        </p:nvSpPr>
        <p:spPr>
          <a:xfrm>
            <a:off x="6297565" y="5968506"/>
            <a:ext cx="46814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>
                <a:solidFill>
                  <a:schemeClr val="tx1">
                    <a:lumMod val="75000"/>
                    <a:lumOff val="25000"/>
                  </a:schemeClr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Базовая ставка Национального Банка Республики Казахстан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EBF7A6-3071-CFA7-80E5-B68E04D156FD}"/>
              </a:ext>
            </a:extLst>
          </p:cNvPr>
          <p:cNvSpPr txBox="1"/>
          <p:nvPr/>
        </p:nvSpPr>
        <p:spPr>
          <a:xfrm>
            <a:off x="6297565" y="5742760"/>
            <a:ext cx="468148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>
                <a:solidFill>
                  <a:srgbClr val="26A6BD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Эффективная ставка по федеральным фондам США*</a:t>
            </a:r>
            <a:endParaRPr lang="en-US" sz="1100">
              <a:solidFill>
                <a:srgbClr val="26A6BD"/>
              </a:solidFill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8802F1-4D29-D1FD-5812-5C9DD0CEE6BC}"/>
              </a:ext>
            </a:extLst>
          </p:cNvPr>
          <p:cNvSpPr txBox="1"/>
          <p:nvPr/>
        </p:nvSpPr>
        <p:spPr>
          <a:xfrm>
            <a:off x="789700" y="5248123"/>
            <a:ext cx="79396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Январ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FF2EF0-F697-5D2E-57A8-8E2C9493A7A0}"/>
              </a:ext>
            </a:extLst>
          </p:cNvPr>
          <p:cNvSpPr txBox="1"/>
          <p:nvPr/>
        </p:nvSpPr>
        <p:spPr>
          <a:xfrm>
            <a:off x="1660401" y="5258898"/>
            <a:ext cx="85270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Феврал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DB1768-14BD-2972-DB10-B8F29D767264}"/>
              </a:ext>
            </a:extLst>
          </p:cNvPr>
          <p:cNvSpPr txBox="1"/>
          <p:nvPr/>
        </p:nvSpPr>
        <p:spPr>
          <a:xfrm>
            <a:off x="2602586" y="5258898"/>
            <a:ext cx="684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Март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9F54F9-1B42-66C9-AE35-1B4623223629}"/>
              </a:ext>
            </a:extLst>
          </p:cNvPr>
          <p:cNvSpPr txBox="1"/>
          <p:nvPr/>
        </p:nvSpPr>
        <p:spPr>
          <a:xfrm>
            <a:off x="3473121" y="5258898"/>
            <a:ext cx="75700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Апрел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6E1A67-E1E0-62CB-A9EB-7C4803F25117}"/>
              </a:ext>
            </a:extLst>
          </p:cNvPr>
          <p:cNvSpPr txBox="1"/>
          <p:nvPr/>
        </p:nvSpPr>
        <p:spPr>
          <a:xfrm>
            <a:off x="4382054" y="5259996"/>
            <a:ext cx="684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Май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263EB9-0494-65EB-9E6A-4961029213C2}"/>
              </a:ext>
            </a:extLst>
          </p:cNvPr>
          <p:cNvSpPr txBox="1"/>
          <p:nvPr/>
        </p:nvSpPr>
        <p:spPr>
          <a:xfrm>
            <a:off x="5283065" y="5258898"/>
            <a:ext cx="684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Июн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7AF3A0-16E2-CC60-7C9D-A78FEC0D02CD}"/>
              </a:ext>
            </a:extLst>
          </p:cNvPr>
          <p:cNvSpPr txBox="1"/>
          <p:nvPr/>
        </p:nvSpPr>
        <p:spPr>
          <a:xfrm>
            <a:off x="6173443" y="5253416"/>
            <a:ext cx="684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Июл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D893B4-C0EB-2EF8-9559-ED908E6843E4}"/>
              </a:ext>
            </a:extLst>
          </p:cNvPr>
          <p:cNvSpPr txBox="1"/>
          <p:nvPr/>
        </p:nvSpPr>
        <p:spPr>
          <a:xfrm>
            <a:off x="7071738" y="5256897"/>
            <a:ext cx="684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Август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B8484D-567C-2343-A44F-E5AE035787CC}"/>
              </a:ext>
            </a:extLst>
          </p:cNvPr>
          <p:cNvSpPr txBox="1"/>
          <p:nvPr/>
        </p:nvSpPr>
        <p:spPr>
          <a:xfrm>
            <a:off x="7844699" y="5263299"/>
            <a:ext cx="9645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Сентябр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B19851-0D9A-60ED-8E00-2CD02A6D1713}"/>
              </a:ext>
            </a:extLst>
          </p:cNvPr>
          <p:cNvSpPr txBox="1"/>
          <p:nvPr/>
        </p:nvSpPr>
        <p:spPr>
          <a:xfrm>
            <a:off x="8767268" y="5263299"/>
            <a:ext cx="9645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Октябр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3AEA65-5553-6543-0D8F-CFD2EACA4FA9}"/>
              </a:ext>
            </a:extLst>
          </p:cNvPr>
          <p:cNvSpPr txBox="1"/>
          <p:nvPr/>
        </p:nvSpPr>
        <p:spPr>
          <a:xfrm>
            <a:off x="9656359" y="5253416"/>
            <a:ext cx="9645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Ноябр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cxnSp>
        <p:nvCxnSpPr>
          <p:cNvPr id="16" name="Straight Connector 1">
            <a:extLst>
              <a:ext uri="{FF2B5EF4-FFF2-40B4-BE49-F238E27FC236}">
                <a16:creationId xmlns:a16="http://schemas.microsoft.com/office/drawing/2014/main" id="{E01A9E68-5138-B07E-0F4E-F06C98684B75}"/>
              </a:ext>
            </a:extLst>
          </p:cNvPr>
          <p:cNvCxnSpPr>
            <a:cxnSpLocks/>
          </p:cNvCxnSpPr>
          <p:nvPr/>
        </p:nvCxnSpPr>
        <p:spPr>
          <a:xfrm>
            <a:off x="5985589" y="5873564"/>
            <a:ext cx="269082" cy="0"/>
          </a:xfrm>
          <a:prstGeom prst="line">
            <a:avLst/>
          </a:prstGeom>
          <a:ln w="19050">
            <a:solidFill>
              <a:srgbClr val="26A6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36C659C-9BB8-0B8A-555F-6A9C60F5028D}"/>
              </a:ext>
            </a:extLst>
          </p:cNvPr>
          <p:cNvSpPr txBox="1"/>
          <p:nvPr/>
        </p:nvSpPr>
        <p:spPr>
          <a:xfrm>
            <a:off x="10616642" y="5263299"/>
            <a:ext cx="96456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Декабрь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42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0E956BD-EAA8-F1A8-3AC9-E2053F384E4C}"/>
              </a:ext>
            </a:extLst>
          </p:cNvPr>
          <p:cNvSpPr txBox="1"/>
          <p:nvPr/>
        </p:nvSpPr>
        <p:spPr>
          <a:xfrm>
            <a:off x="1066800" y="2123349"/>
            <a:ext cx="9991725" cy="255454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Настоящая информация не является инвестиционной рекомендацией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Данные в этом материале являются достоверными на момент публикации, однако мы не предоставляем гарантию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Пожалуйста, имейте ввиду, что выводы и заключения, предоставленные в материале, основаны на информации, собранной добросовестно из первичных и вторичных источников, точность которых МФЦА не всегда способна гарантировать. 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Выводы, интерпретации и заключения, изложенные в данном материале, не обязательно отражают позицию Администрации МФЦА. Предоставленная информация предназначена только для общего ознакомления.</a:t>
            </a:r>
          </a:p>
          <a:p>
            <a:pPr algn="l">
              <a:spcAft>
                <a:spcPts val="600"/>
              </a:spcAft>
            </a:pPr>
            <a:r>
              <a:rPr lang="ru-RU" sz="1400" b="0" i="0">
                <a:effectLst/>
                <a:latin typeface="Arial" panose="020B0604020202020204" pitchFamily="34" charset="0"/>
              </a:rPr>
              <a:t>Администрация МФЦА не делает никаких заявлений и не предоставляет никаких гарантий, явных или подразумеваемых компетентность, достоверность, надежность или пригодность данного материала для его использования в ваших целях.</a:t>
            </a:r>
            <a:endParaRPr lang="en-US" sz="1400" b="0" i="0">
              <a:effectLst/>
              <a:latin typeface="Segoe UI" panose="020B0502040204020203" pitchFamily="34" charset="0"/>
            </a:endParaRP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00C14416-5751-514C-0530-A9532657D1AE}"/>
              </a:ext>
            </a:extLst>
          </p:cNvPr>
          <p:cNvSpPr/>
          <p:nvPr/>
        </p:nvSpPr>
        <p:spPr>
          <a:xfrm>
            <a:off x="874240" y="1695450"/>
            <a:ext cx="10443515" cy="329565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1066801" y="1489901"/>
            <a:ext cx="2477677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2400" b="1">
                <a:latin typeface="Montserrat" panose="00000500000000000000" pitchFamily="2" charset="-52"/>
                <a:cs typeface="Mongolian Baiti" panose="03000500000000000000" pitchFamily="66" charset="0"/>
              </a:rPr>
              <a:t>ДИСКЛЕЙМЕР </a:t>
            </a:r>
          </a:p>
        </p:txBody>
      </p:sp>
    </p:spTree>
    <p:extLst>
      <p:ext uri="{BB962C8B-B14F-4D97-AF65-F5344CB8AC3E}">
        <p14:creationId xmlns:p14="http://schemas.microsoft.com/office/powerpoint/2010/main" val="245947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685800" y="5488468"/>
            <a:ext cx="2165652" cy="712295"/>
          </a:xfrm>
          <a:custGeom>
            <a:avLst/>
            <a:gdLst/>
            <a:ahLst/>
            <a:cxnLst/>
            <a:rect l="l" t="t" r="r" b="b"/>
            <a:pathLst>
              <a:path w="3248478" h="1068443">
                <a:moveTo>
                  <a:pt x="0" y="0"/>
                </a:moveTo>
                <a:lnTo>
                  <a:pt x="3248477" y="0"/>
                </a:lnTo>
                <a:lnTo>
                  <a:pt x="3248477" y="1068443"/>
                </a:lnTo>
                <a:lnTo>
                  <a:pt x="0" y="1068443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8A7C46E-532A-DD4A-48B7-EED70692DBF2}"/>
              </a:ext>
            </a:extLst>
          </p:cNvPr>
          <p:cNvSpPr/>
          <p:nvPr/>
        </p:nvSpPr>
        <p:spPr>
          <a:xfrm>
            <a:off x="6597158" y="713332"/>
            <a:ext cx="4091342" cy="3511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КОНТАКТНАЯ ИНФОРМАЦИЯ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3702D15-0BF6-9B2F-8945-9C77A755D226}"/>
              </a:ext>
            </a:extLst>
          </p:cNvPr>
          <p:cNvSpPr txBox="1"/>
          <p:nvPr/>
        </p:nvSpPr>
        <p:spPr>
          <a:xfrm>
            <a:off x="6978156" y="1476295"/>
            <a:ext cx="3080244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Сайт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www.aifc.kz 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FFB63CF4-FDC1-0169-2960-8CFEAF2CEDC3}"/>
              </a:ext>
            </a:extLst>
          </p:cNvPr>
          <p:cNvSpPr txBox="1"/>
          <p:nvPr/>
        </p:nvSpPr>
        <p:spPr>
          <a:xfrm>
            <a:off x="6978156" y="2053116"/>
            <a:ext cx="4091342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Биржа МФЦА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Markets@aix.kz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4A3AEF89-665D-61D1-A1BF-80120B0AC8F1}"/>
              </a:ext>
            </a:extLst>
          </p:cNvPr>
          <p:cNvSpPr txBox="1"/>
          <p:nvPr/>
        </p:nvSpPr>
        <p:spPr>
          <a:xfrm>
            <a:off x="6978155" y="2629938"/>
            <a:ext cx="4194077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Запросы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: DataAnalytics@aifc.kz </a:t>
            </a:r>
          </a:p>
        </p:txBody>
      </p:sp>
      <p:sp>
        <p:nvSpPr>
          <p:cNvPr id="125" name="Овал 7">
            <a:extLst>
              <a:ext uri="{FF2B5EF4-FFF2-40B4-BE49-F238E27FC236}">
                <a16:creationId xmlns:a16="http://schemas.microsoft.com/office/drawing/2014/main" id="{AA43A28A-F9BD-78B3-32A5-AA2D178C9DA4}"/>
              </a:ext>
            </a:extLst>
          </p:cNvPr>
          <p:cNvSpPr/>
          <p:nvPr/>
        </p:nvSpPr>
        <p:spPr>
          <a:xfrm>
            <a:off x="6635256" y="1588961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6" name="Straight Connector 57">
            <a:extLst>
              <a:ext uri="{FF2B5EF4-FFF2-40B4-BE49-F238E27FC236}">
                <a16:creationId xmlns:a16="http://schemas.microsoft.com/office/drawing/2014/main" id="{0F795987-889D-0896-245F-303BA2DE87FF}"/>
              </a:ext>
            </a:extLst>
          </p:cNvPr>
          <p:cNvCxnSpPr>
            <a:cxnSpLocks/>
            <a:stCxn id="125" idx="4"/>
            <a:endCxn id="127" idx="0"/>
          </p:cNvCxnSpPr>
          <p:nvPr/>
        </p:nvCxnSpPr>
        <p:spPr>
          <a:xfrm>
            <a:off x="6707256" y="1732961"/>
            <a:ext cx="0" cy="43282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Овал 11">
            <a:extLst>
              <a:ext uri="{FF2B5EF4-FFF2-40B4-BE49-F238E27FC236}">
                <a16:creationId xmlns:a16="http://schemas.microsoft.com/office/drawing/2014/main" id="{84660929-86CB-FB31-80C2-21AEB82A7944}"/>
              </a:ext>
            </a:extLst>
          </p:cNvPr>
          <p:cNvSpPr/>
          <p:nvPr/>
        </p:nvSpPr>
        <p:spPr>
          <a:xfrm>
            <a:off x="6635256" y="2165782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Овал 12">
            <a:extLst>
              <a:ext uri="{FF2B5EF4-FFF2-40B4-BE49-F238E27FC236}">
                <a16:creationId xmlns:a16="http://schemas.microsoft.com/office/drawing/2014/main" id="{549732B0-E68D-CB9F-BFE5-55E51105B8E0}"/>
              </a:ext>
            </a:extLst>
          </p:cNvPr>
          <p:cNvSpPr/>
          <p:nvPr/>
        </p:nvSpPr>
        <p:spPr>
          <a:xfrm>
            <a:off x="6635256" y="2742604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9" name="Straight Connector 57">
            <a:extLst>
              <a:ext uri="{FF2B5EF4-FFF2-40B4-BE49-F238E27FC236}">
                <a16:creationId xmlns:a16="http://schemas.microsoft.com/office/drawing/2014/main" id="{696FE3E7-3EAB-CA74-1426-2117541988FD}"/>
              </a:ext>
            </a:extLst>
          </p:cNvPr>
          <p:cNvCxnSpPr>
            <a:cxnSpLocks/>
            <a:stCxn id="127" idx="4"/>
            <a:endCxn id="128" idx="0"/>
          </p:cNvCxnSpPr>
          <p:nvPr/>
        </p:nvCxnSpPr>
        <p:spPr>
          <a:xfrm>
            <a:off x="6707256" y="2309782"/>
            <a:ext cx="0" cy="43282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24">
            <a:extLst>
              <a:ext uri="{FF2B5EF4-FFF2-40B4-BE49-F238E27FC236}">
                <a16:creationId xmlns:a16="http://schemas.microsoft.com/office/drawing/2014/main" id="{F9D16FF2-A513-9803-29EA-11B6AB3618C4}"/>
              </a:ext>
            </a:extLst>
          </p:cNvPr>
          <p:cNvSpPr txBox="1"/>
          <p:nvPr/>
        </p:nvSpPr>
        <p:spPr>
          <a:xfrm>
            <a:off x="685800" y="1222083"/>
            <a:ext cx="6158593" cy="3063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Администрация МФЦА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94A88F3-CDB5-5ED6-4D55-03F153C93601}"/>
              </a:ext>
            </a:extLst>
          </p:cNvPr>
          <p:cNvSpPr/>
          <p:nvPr/>
        </p:nvSpPr>
        <p:spPr>
          <a:xfrm>
            <a:off x="685800" y="712064"/>
            <a:ext cx="4465956" cy="3511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АВТОРЫ ОТЧЕТА</a:t>
            </a:r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183571CA-2B96-9349-0A94-5E3D2B793E6E}"/>
              </a:ext>
            </a:extLst>
          </p:cNvPr>
          <p:cNvSpPr txBox="1"/>
          <p:nvPr/>
        </p:nvSpPr>
        <p:spPr>
          <a:xfrm>
            <a:off x="685800" y="3805845"/>
            <a:ext cx="6158593" cy="3063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Биржа МФЦА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EAC5C9-6115-01EE-0D1C-1023B0084E88}"/>
              </a:ext>
            </a:extLst>
          </p:cNvPr>
          <p:cNvSpPr txBox="1"/>
          <p:nvPr/>
        </p:nvSpPr>
        <p:spPr>
          <a:xfrm>
            <a:off x="1019768" y="4167865"/>
            <a:ext cx="6096000" cy="626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Абилкасым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Бахтияр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Менеджер Департамента отчетности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78308D-BDA0-F119-5A55-EA0A922FAEF1}"/>
              </a:ext>
            </a:extLst>
          </p:cNvPr>
          <p:cNvSpPr txBox="1"/>
          <p:nvPr/>
        </p:nvSpPr>
        <p:spPr>
          <a:xfrm>
            <a:off x="1019768" y="1631234"/>
            <a:ext cx="6096000" cy="1438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Бектуров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Альтаир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Директор Департамента аналитики данных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Каримсаков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Тимур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Главный менеджер Департамента аналитики данных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B68128A-A2B0-5F80-0DEE-7ED1EEC8581F}"/>
              </a:ext>
            </a:extLst>
          </p:cNvPr>
          <p:cNvGrpSpPr/>
          <p:nvPr/>
        </p:nvGrpSpPr>
        <p:grpSpPr>
          <a:xfrm>
            <a:off x="735202" y="1965398"/>
            <a:ext cx="144000" cy="832129"/>
            <a:chOff x="685800" y="2624527"/>
            <a:chExt cx="144000" cy="832129"/>
          </a:xfrm>
        </p:grpSpPr>
        <p:sp>
          <p:nvSpPr>
            <p:cNvPr id="14" name="Овал 7">
              <a:extLst>
                <a:ext uri="{FF2B5EF4-FFF2-40B4-BE49-F238E27FC236}">
                  <a16:creationId xmlns:a16="http://schemas.microsoft.com/office/drawing/2014/main" id="{C431C3E8-DCEA-3B5A-5911-DFC5833E0127}"/>
                </a:ext>
              </a:extLst>
            </p:cNvPr>
            <p:cNvSpPr/>
            <p:nvPr/>
          </p:nvSpPr>
          <p:spPr>
            <a:xfrm>
              <a:off x="685800" y="2624527"/>
              <a:ext cx="144000" cy="144000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KZ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Connector 57">
              <a:extLst>
                <a:ext uri="{FF2B5EF4-FFF2-40B4-BE49-F238E27FC236}">
                  <a16:creationId xmlns:a16="http://schemas.microsoft.com/office/drawing/2014/main" id="{DC300410-A871-1A61-A666-846E09C9BCDE}"/>
                </a:ext>
              </a:extLst>
            </p:cNvPr>
            <p:cNvCxnSpPr>
              <a:cxnSpLocks/>
              <a:stCxn id="14" idx="4"/>
              <a:endCxn id="16" idx="0"/>
            </p:cNvCxnSpPr>
            <p:nvPr/>
          </p:nvCxnSpPr>
          <p:spPr>
            <a:xfrm>
              <a:off x="757800" y="2768527"/>
              <a:ext cx="0" cy="544129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Овал 11">
              <a:extLst>
                <a:ext uri="{FF2B5EF4-FFF2-40B4-BE49-F238E27FC236}">
                  <a16:creationId xmlns:a16="http://schemas.microsoft.com/office/drawing/2014/main" id="{95A981F2-7B7B-E5F6-7FE5-E1DEB16BCD56}"/>
                </a:ext>
              </a:extLst>
            </p:cNvPr>
            <p:cNvSpPr/>
            <p:nvPr/>
          </p:nvSpPr>
          <p:spPr>
            <a:xfrm>
              <a:off x="685800" y="3312656"/>
              <a:ext cx="144000" cy="144000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KZ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Овал 7">
            <a:extLst>
              <a:ext uri="{FF2B5EF4-FFF2-40B4-BE49-F238E27FC236}">
                <a16:creationId xmlns:a16="http://schemas.microsoft.com/office/drawing/2014/main" id="{C858C0EF-F241-2999-7111-21EB70F27552}"/>
              </a:ext>
            </a:extLst>
          </p:cNvPr>
          <p:cNvSpPr/>
          <p:nvPr/>
        </p:nvSpPr>
        <p:spPr>
          <a:xfrm>
            <a:off x="735202" y="4408899"/>
            <a:ext cx="144000" cy="144000"/>
          </a:xfrm>
          <a:prstGeom prst="ellips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KZ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275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2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>
                <a:solidFill>
                  <a:srgbClr val="FFFFFF"/>
                </a:solidFill>
                <a:latin typeface="Montserrat" panose="00000500000000000000" pitchFamily="2" charset="-52"/>
                <a:cs typeface="Arial" panose="020B0604020202020204" pitchFamily="34" charset="0"/>
              </a:rPr>
              <a:t>СОДЕРЖАНИЕ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8EAA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2">
            <a:extLst>
              <a:ext uri="{FF2B5EF4-FFF2-40B4-BE49-F238E27FC236}">
                <a16:creationId xmlns:a16="http://schemas.microsoft.com/office/drawing/2014/main" id="{0FA85B8B-87C1-535E-40BD-61CD91E9C933}"/>
              </a:ext>
            </a:extLst>
          </p:cNvPr>
          <p:cNvGrpSpPr/>
          <p:nvPr/>
        </p:nvGrpSpPr>
        <p:grpSpPr>
          <a:xfrm>
            <a:off x="7124488" y="4421798"/>
            <a:ext cx="5067512" cy="2473910"/>
            <a:chOff x="0" y="0"/>
            <a:chExt cx="12152015" cy="5932492"/>
          </a:xfrm>
        </p:grpSpPr>
        <p:sp>
          <p:nvSpPr>
            <p:cNvPr id="3" name="Freeform 3">
              <a:extLst>
                <a:ext uri="{FF2B5EF4-FFF2-40B4-BE49-F238E27FC236}">
                  <a16:creationId xmlns:a16="http://schemas.microsoft.com/office/drawing/2014/main" id="{A0D0063A-4585-D326-62C1-BCE273E7B03F}"/>
                </a:ext>
              </a:extLst>
            </p:cNvPr>
            <p:cNvSpPr/>
            <p:nvPr/>
          </p:nvSpPr>
          <p:spPr>
            <a:xfrm>
              <a:off x="0" y="0"/>
              <a:ext cx="6142076" cy="5932492"/>
            </a:xfrm>
            <a:custGeom>
              <a:avLst/>
              <a:gdLst/>
              <a:ahLst/>
              <a:cxnLst/>
              <a:rect l="l" t="t" r="r" b="b"/>
              <a:pathLst>
                <a:path w="6142076" h="5932492">
                  <a:moveTo>
                    <a:pt x="0" y="0"/>
                  </a:moveTo>
                  <a:lnTo>
                    <a:pt x="6142076" y="0"/>
                  </a:lnTo>
                  <a:lnTo>
                    <a:pt x="6142076" y="5932492"/>
                  </a:lnTo>
                  <a:lnTo>
                    <a:pt x="0" y="593249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/>
              <a:stretch>
                <a:fillRect l="-18272" r="-154445"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66177999-FEE0-29A2-A2DF-FC8AD8C91560}"/>
                </a:ext>
              </a:extLst>
            </p:cNvPr>
            <p:cNvSpPr/>
            <p:nvPr/>
          </p:nvSpPr>
          <p:spPr>
            <a:xfrm>
              <a:off x="6003967" y="0"/>
              <a:ext cx="6148048" cy="5932492"/>
            </a:xfrm>
            <a:custGeom>
              <a:avLst/>
              <a:gdLst/>
              <a:ahLst/>
              <a:cxnLst/>
              <a:rect l="l" t="t" r="r" b="b"/>
              <a:pathLst>
                <a:path w="6148048" h="5932492">
                  <a:moveTo>
                    <a:pt x="0" y="0"/>
                  </a:moveTo>
                  <a:lnTo>
                    <a:pt x="6148048" y="0"/>
                  </a:lnTo>
                  <a:lnTo>
                    <a:pt x="6148048" y="5932492"/>
                  </a:lnTo>
                  <a:lnTo>
                    <a:pt x="0" y="593249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/>
              <a:stretch>
                <a:fillRect l="-172453"/>
              </a:stretch>
            </a:blip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87ED7BB-60B9-8589-891D-908A1DFCEABA}"/>
              </a:ext>
            </a:extLst>
          </p:cNvPr>
          <p:cNvGrpSpPr/>
          <p:nvPr/>
        </p:nvGrpSpPr>
        <p:grpSpPr>
          <a:xfrm>
            <a:off x="949042" y="1475811"/>
            <a:ext cx="5203564" cy="1011367"/>
            <a:chOff x="949042" y="2580697"/>
            <a:chExt cx="5203564" cy="101136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56EC6B1-914B-24FB-7837-E2AE0A0DB065}"/>
                </a:ext>
              </a:extLst>
            </p:cNvPr>
            <p:cNvSpPr txBox="1"/>
            <p:nvPr/>
          </p:nvSpPr>
          <p:spPr>
            <a:xfrm>
              <a:off x="949042" y="2580697"/>
              <a:ext cx="334073" cy="1011367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1" i="0" u="none" strike="noStrike" kern="1200" cap="none" spc="0" normalizeH="0" baseline="0" noProof="0">
                  <a:ln>
                    <a:noFill/>
                  </a:ln>
                  <a:solidFill>
                    <a:srgbClr val="008EAA"/>
                  </a:solidFill>
                  <a:effectLst/>
                  <a:uLnTx/>
                  <a:uFillTx/>
                  <a:latin typeface="Montserrat ExtraLight" panose="020F0502020204030204" pitchFamily="2" charset="-52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6219E36-2ACD-F319-6C7A-ECA2683BBB2E}"/>
                </a:ext>
              </a:extLst>
            </p:cNvPr>
            <p:cNvSpPr txBox="1"/>
            <p:nvPr/>
          </p:nvSpPr>
          <p:spPr>
            <a:xfrm>
              <a:off x="1442357" y="2904087"/>
              <a:ext cx="4710249" cy="3645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46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anose="00000500000000000000" pitchFamily="2" charset="-52"/>
                  <a:ea typeface="Verdana" panose="020B0604030504040204" pitchFamily="34" charset="0"/>
                  <a:cs typeface="Mongolian Baiti" panose="03000500000000000000" pitchFamily="66" charset="0"/>
                </a:rPr>
                <a:t>КРАТКИЙ ОБЗОР</a:t>
              </a: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32A86F5-727B-BEB0-4B73-741D0A836F3C}"/>
              </a:ext>
            </a:extLst>
          </p:cNvPr>
          <p:cNvSpPr txBox="1"/>
          <p:nvPr/>
        </p:nvSpPr>
        <p:spPr>
          <a:xfrm>
            <a:off x="949042" y="2866682"/>
            <a:ext cx="323187" cy="101136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 ExtraLight" panose="020F0502020204030204" pitchFamily="2" charset="-52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kumimoji="0" lang="en-US" sz="5400" b="1" i="0" u="none" strike="noStrike" kern="1200" cap="none" spc="0" normalizeH="0" baseline="0" noProof="0">
              <a:ln>
                <a:noFill/>
              </a:ln>
              <a:solidFill>
                <a:srgbClr val="008EAA"/>
              </a:solidFill>
              <a:effectLst/>
              <a:uLnTx/>
              <a:uFillTx/>
              <a:latin typeface="Montserrat ExtraLight" panose="020F0502020204030204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F494903-AF1D-6685-9430-5747D76F1F65}"/>
              </a:ext>
            </a:extLst>
          </p:cNvPr>
          <p:cNvSpPr txBox="1"/>
          <p:nvPr/>
        </p:nvSpPr>
        <p:spPr>
          <a:xfrm>
            <a:off x="1442357" y="2800799"/>
            <a:ext cx="7358743" cy="1660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>
              <a:lnSpc>
                <a:spcPct val="120000"/>
              </a:lnSpc>
              <a:defRPr/>
            </a:pPr>
            <a:r>
              <a:rPr lang="kk-KZ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БИРЖА</a:t>
            </a:r>
            <a:r>
              <a:rPr lang="en-US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 </a:t>
            </a:r>
            <a:r>
              <a:rPr lang="ru-RU" sz="1600" b="1">
                <a:solidFill>
                  <a:schemeClr val="bg1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МФЦА</a:t>
            </a:r>
            <a:endParaRPr lang="en-US" sz="1600" b="1">
              <a:solidFill>
                <a:schemeClr val="bg1"/>
              </a:solidFill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озничные инвесторы и торговые члены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AIX QAZAQ</a:t>
            </a:r>
            <a:r>
              <a:rPr lang="en-US" sz="1400">
                <a:solidFill>
                  <a:prstClr val="white"/>
                </a:solidFill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 Index</a:t>
            </a: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-52"/>
              <a:ea typeface="Verdana" panose="020B0604030504040204" pitchFamily="34" charset="0"/>
              <a:cs typeface="Mongolian Baiti" panose="03000500000000000000" pitchFamily="66" charset="0"/>
            </a:endParaRP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Общий обзор</a:t>
            </a: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ынок акций</a:t>
            </a:r>
          </a:p>
          <a:p>
            <a:pPr marL="285750" marR="0" lvl="0" indent="-285750" algn="l" defTabSz="91444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-52"/>
                <a:ea typeface="Verdana" panose="020B0604030504040204" pitchFamily="34" charset="0"/>
                <a:cs typeface="Mongolian Baiti" panose="03000500000000000000" pitchFamily="66" charset="0"/>
              </a:rPr>
              <a:t>Рынок долговых ценных бумаг</a:t>
            </a:r>
          </a:p>
        </p:txBody>
      </p:sp>
    </p:spTree>
    <p:extLst>
      <p:ext uri="{BB962C8B-B14F-4D97-AF65-F5344CB8AC3E}">
        <p14:creationId xmlns:p14="http://schemas.microsoft.com/office/powerpoint/2010/main" val="183710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D2CB8FC-6BA7-8072-C621-DF5C7DA19DDD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ноябре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202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Биржа МФЦА показала значительный рост объема торгов и привлеченного капитала.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целом с момента запуска Биржи МФЦА торговый оборот составил около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,4 млрд, причем около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1,2 млрд приходится на торги за 11 месяцев текущего года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5F9A3C-A6AC-7B2C-A7C3-15F9DC24E247}"/>
              </a:ext>
            </a:extLst>
          </p:cNvPr>
          <p:cNvCxnSpPr>
            <a:cxnSpLocks/>
          </p:cNvCxnSpPr>
          <p:nvPr/>
        </p:nvCxnSpPr>
        <p:spPr>
          <a:xfrm>
            <a:off x="8165068" y="2087093"/>
            <a:ext cx="0" cy="1117674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466F0B9-3675-657B-C473-020CF1F30D81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КРАТКИЙ ОБЗОР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25">
            <a:extLst>
              <a:ext uri="{FF2B5EF4-FFF2-40B4-BE49-F238E27FC236}">
                <a16:creationId xmlns:a16="http://schemas.microsoft.com/office/drawing/2014/main" id="{B23BE2FE-552A-E578-0D98-091BCDECCE51}"/>
              </a:ext>
            </a:extLst>
          </p:cNvPr>
          <p:cNvSpPr/>
          <p:nvPr/>
        </p:nvSpPr>
        <p:spPr>
          <a:xfrm>
            <a:off x="874239" y="3694214"/>
            <a:ext cx="10443518" cy="41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3" name="Straight Connector 11">
            <a:extLst>
              <a:ext uri="{FF2B5EF4-FFF2-40B4-BE49-F238E27FC236}">
                <a16:creationId xmlns:a16="http://schemas.microsoft.com/office/drawing/2014/main" id="{D2AB8C45-009F-A7CC-576B-61C0E279C5CF}"/>
              </a:ext>
            </a:extLst>
          </p:cNvPr>
          <p:cNvCxnSpPr>
            <a:cxnSpLocks/>
          </p:cNvCxnSpPr>
          <p:nvPr/>
        </p:nvCxnSpPr>
        <p:spPr>
          <a:xfrm>
            <a:off x="8154547" y="4191418"/>
            <a:ext cx="0" cy="1117674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235083C2-5757-7E48-3DD7-E82083F8F912}"/>
              </a:ext>
            </a:extLst>
          </p:cNvPr>
          <p:cNvSpPr txBox="1"/>
          <p:nvPr/>
        </p:nvSpPr>
        <p:spPr>
          <a:xfrm>
            <a:off x="863724" y="4285725"/>
            <a:ext cx="4164046" cy="8156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ПРИВЛЕЧЕННЫЙ КАПИТАЛ</a:t>
            </a:r>
            <a:endParaRPr lang="en-US" sz="1400" b="1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pPr algn="just"/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щий объем привлеченного капитала (долгового и долевого) с момента запуска Биржи МФЦА составил </a:t>
            </a: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6,9 млрд</a:t>
            </a:r>
            <a:endParaRPr lang="en-US" sz="11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C3CFBC9-02D3-15AD-185C-028D26028444}"/>
              </a:ext>
            </a:extLst>
          </p:cNvPr>
          <p:cNvGrpSpPr/>
          <p:nvPr/>
        </p:nvGrpSpPr>
        <p:grpSpPr>
          <a:xfrm>
            <a:off x="5505159" y="3824501"/>
            <a:ext cx="2416810" cy="1317652"/>
            <a:chOff x="5980886" y="934137"/>
            <a:chExt cx="2416810" cy="131765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AFE7194-754A-139A-129B-C29D97705FDC}"/>
                </a:ext>
              </a:extLst>
            </p:cNvPr>
            <p:cNvSpPr/>
            <p:nvPr/>
          </p:nvSpPr>
          <p:spPr>
            <a:xfrm>
              <a:off x="5980886" y="934137"/>
              <a:ext cx="2416810" cy="12782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spc="3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$</a:t>
              </a:r>
              <a:r>
                <a:rPr lang="ru-RU" sz="5400" b="1" spc="3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6,9</a:t>
              </a:r>
              <a:endParaRPr lang="en-US" sz="1800" dirty="0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308A178-8EED-6E62-8CF2-A6BCE10E4525}"/>
                </a:ext>
              </a:extLst>
            </p:cNvPr>
            <p:cNvSpPr txBox="1"/>
            <p:nvPr/>
          </p:nvSpPr>
          <p:spPr>
            <a:xfrm>
              <a:off x="6287342" y="1851679"/>
              <a:ext cx="192718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млрд</a:t>
              </a:r>
              <a:endParaRPr lang="en-US" dirty="0">
                <a:solidFill>
                  <a:srgbClr val="002454"/>
                </a:solidFill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C3CDE9E-035D-BFE2-205C-1E57970DE1EB}"/>
              </a:ext>
            </a:extLst>
          </p:cNvPr>
          <p:cNvSpPr txBox="1"/>
          <p:nvPr/>
        </p:nvSpPr>
        <p:spPr>
          <a:xfrm>
            <a:off x="8409904" y="4118602"/>
            <a:ext cx="2757960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+$2,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3 млрд</a:t>
            </a:r>
            <a:b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За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1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1 месяцев 2024 год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FAFFEA8-1DF7-6FF3-BBB3-5C7EA0C9F237}"/>
              </a:ext>
            </a:extLst>
          </p:cNvPr>
          <p:cNvSpPr txBox="1"/>
          <p:nvPr/>
        </p:nvSpPr>
        <p:spPr>
          <a:xfrm>
            <a:off x="874239" y="2247331"/>
            <a:ext cx="4164046" cy="8156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</a:t>
            </a:r>
            <a:endParaRPr lang="en-US" sz="14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Биржа МФЦА продемонстрировала значительный рост объема торгов, достигнув рекордного с начала года оборота в </a:t>
            </a: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1,2 млрд</a:t>
            </a:r>
            <a:endParaRPr lang="en-US" sz="11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77EDD4-383E-5B2E-AD23-4BB2B79954F8}"/>
              </a:ext>
            </a:extLst>
          </p:cNvPr>
          <p:cNvGrpSpPr/>
          <p:nvPr/>
        </p:nvGrpSpPr>
        <p:grpSpPr>
          <a:xfrm>
            <a:off x="5785591" y="1829651"/>
            <a:ext cx="2197100" cy="1378900"/>
            <a:chOff x="8030504" y="938893"/>
            <a:chExt cx="2197100" cy="13789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2BC447A-6F39-66A3-FE03-5C4E6B746FC4}"/>
                </a:ext>
              </a:extLst>
            </p:cNvPr>
            <p:cNvSpPr/>
            <p:nvPr/>
          </p:nvSpPr>
          <p:spPr>
            <a:xfrm>
              <a:off x="8030504" y="938893"/>
              <a:ext cx="2197100" cy="12782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400" b="1" spc="3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$</a:t>
              </a:r>
              <a:r>
                <a:rPr lang="ru-RU" sz="5400" b="1" spc="3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1,2</a:t>
              </a:r>
              <a:endParaRPr lang="en-US" sz="5400" b="1" spc="300" dirty="0">
                <a:solidFill>
                  <a:srgbClr val="002454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0EBAB59-C220-B3D0-45BE-A587F6369F63}"/>
                </a:ext>
              </a:extLst>
            </p:cNvPr>
            <p:cNvSpPr txBox="1"/>
            <p:nvPr/>
          </p:nvSpPr>
          <p:spPr>
            <a:xfrm>
              <a:off x="8177986" y="1917683"/>
              <a:ext cx="192718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dirty="0">
                  <a:solidFill>
                    <a:srgbClr val="002454"/>
                  </a:solidFill>
                  <a:latin typeface="Montserrat" panose="00000500000000000000" pitchFamily="2" charset="-52"/>
                </a:rPr>
                <a:t>млрд</a:t>
              </a:r>
              <a:endParaRPr lang="en-US" dirty="0">
                <a:solidFill>
                  <a:srgbClr val="002454"/>
                </a:solidFill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D44198A-15FA-6196-A1B4-4A48106931E3}"/>
              </a:ext>
            </a:extLst>
          </p:cNvPr>
          <p:cNvSpPr txBox="1"/>
          <p:nvPr/>
        </p:nvSpPr>
        <p:spPr>
          <a:xfrm>
            <a:off x="8409903" y="1927362"/>
            <a:ext cx="3137053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За один год</a:t>
            </a:r>
          </a:p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Наторговали больше чем за первые 6 лет с момента запуска Биржи МФЦ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B7AA0-84FC-A631-E83E-60EE4859D69D}"/>
              </a:ext>
            </a:extLst>
          </p:cNvPr>
          <p:cNvSpPr txBox="1"/>
          <p:nvPr/>
        </p:nvSpPr>
        <p:spPr>
          <a:xfrm>
            <a:off x="8409904" y="2704171"/>
            <a:ext cx="3039850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$2,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4</a:t>
            </a:r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млрд</a:t>
            </a:r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			</a:t>
            </a:r>
            <a:endParaRPr lang="ru-RU" sz="1200" b="1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с запуска Биржи МФЦ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011FB5-53E4-FDC2-9DA5-A8B7BCFEBDC3}"/>
              </a:ext>
            </a:extLst>
          </p:cNvPr>
          <p:cNvSpPr txBox="1"/>
          <p:nvPr/>
        </p:nvSpPr>
        <p:spPr>
          <a:xfrm>
            <a:off x="8409904" y="4750255"/>
            <a:ext cx="2757960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+</a:t>
            </a:r>
            <a:r>
              <a:rPr lang="en-US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2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159 млн</a:t>
            </a:r>
            <a:b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ноябре 2024 год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78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ASTANA INTERNATIONAL EXCHANG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0DDF0D-AB1E-2104-5912-BFE0BDB19D94}"/>
              </a:ext>
            </a:extLst>
          </p:cNvPr>
          <p:cNvSpPr txBox="1"/>
          <p:nvPr/>
        </p:nvSpPr>
        <p:spPr>
          <a:xfrm>
            <a:off x="884760" y="894639"/>
            <a:ext cx="10432997" cy="46166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1200">
                <a:latin typeface="Montserrat" panose="00000500000000000000" pitchFamily="2" charset="-52"/>
                <a:cs typeface="Mongolian Baiti" panose="03000500000000000000" pitchFamily="66" charset="0"/>
              </a:rPr>
              <a:t>Astana International Exchange </a:t>
            </a:r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(Биржа МФЦА) образована в 2017 г. в рамках развития Международного финансового центра «Астана» (МФЦА)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0E88F02C-23C2-B2FB-1602-1C7F78B49250}"/>
              </a:ext>
            </a:extLst>
          </p:cNvPr>
          <p:cNvGrpSpPr/>
          <p:nvPr/>
        </p:nvGrpSpPr>
        <p:grpSpPr>
          <a:xfrm>
            <a:off x="874240" y="1749807"/>
            <a:ext cx="3101856" cy="1971152"/>
            <a:chOff x="874240" y="1749807"/>
            <a:chExt cx="3101856" cy="197115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CBD792-B8AF-751D-AE4E-2EFB265AEE56}"/>
                </a:ext>
              </a:extLst>
            </p:cNvPr>
            <p:cNvSpPr txBox="1"/>
            <p:nvPr/>
          </p:nvSpPr>
          <p:spPr>
            <a:xfrm>
              <a:off x="874240" y="1749807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 b="1">
                  <a:latin typeface="Montserrat" panose="00000500000000000000" pitchFamily="2" charset="-52"/>
                  <a:cs typeface="Mongolian Baiti" panose="03000500000000000000" pitchFamily="66" charset="0"/>
                </a:rPr>
                <a:t>АКЦИОНЕРЫ</a:t>
              </a:r>
              <a:endParaRPr lang="en-US" sz="1400" b="1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14" name="Овал 1053">
              <a:extLst>
                <a:ext uri="{FF2B5EF4-FFF2-40B4-BE49-F238E27FC236}">
                  <a16:creationId xmlns:a16="http://schemas.microsoft.com/office/drawing/2014/main" id="{61301D98-EF5C-A15B-2617-70A86B997CB4}"/>
                </a:ext>
              </a:extLst>
            </p:cNvPr>
            <p:cNvSpPr/>
            <p:nvPr/>
          </p:nvSpPr>
          <p:spPr>
            <a:xfrm rot="5400000">
              <a:off x="881548" y="2158802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cxnSp>
          <p:nvCxnSpPr>
            <p:cNvPr id="16" name="Straight Connector 57">
              <a:extLst>
                <a:ext uri="{FF2B5EF4-FFF2-40B4-BE49-F238E27FC236}">
                  <a16:creationId xmlns:a16="http://schemas.microsoft.com/office/drawing/2014/main" id="{9F8A7CF4-4BE2-1614-AF66-813D28F57E25}"/>
                </a:ext>
              </a:extLst>
            </p:cNvPr>
            <p:cNvCxnSpPr>
              <a:cxnSpLocks/>
              <a:stCxn id="18" idx="2"/>
              <a:endCxn id="14" idx="6"/>
            </p:cNvCxnSpPr>
            <p:nvPr/>
          </p:nvCxnSpPr>
          <p:spPr>
            <a:xfrm flipV="1">
              <a:off x="957546" y="2307586"/>
              <a:ext cx="0" cy="293165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Овал 1053">
              <a:extLst>
                <a:ext uri="{FF2B5EF4-FFF2-40B4-BE49-F238E27FC236}">
                  <a16:creationId xmlns:a16="http://schemas.microsoft.com/office/drawing/2014/main" id="{2263CC0F-B8EC-92FD-B725-DFBCB53D6E7F}"/>
                </a:ext>
              </a:extLst>
            </p:cNvPr>
            <p:cNvSpPr/>
            <p:nvPr/>
          </p:nvSpPr>
          <p:spPr>
            <a:xfrm rot="5400000">
              <a:off x="881548" y="2603963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19" name="Овал 1053">
              <a:extLst>
                <a:ext uri="{FF2B5EF4-FFF2-40B4-BE49-F238E27FC236}">
                  <a16:creationId xmlns:a16="http://schemas.microsoft.com/office/drawing/2014/main" id="{52841A1A-DAA2-4FFB-517D-EFA898F985A2}"/>
                </a:ext>
              </a:extLst>
            </p:cNvPr>
            <p:cNvSpPr/>
            <p:nvPr/>
          </p:nvSpPr>
          <p:spPr>
            <a:xfrm rot="5400000">
              <a:off x="881548" y="3049124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23" name="Овал 1053">
              <a:extLst>
                <a:ext uri="{FF2B5EF4-FFF2-40B4-BE49-F238E27FC236}">
                  <a16:creationId xmlns:a16="http://schemas.microsoft.com/office/drawing/2014/main" id="{1F7C79CA-A5EE-669E-E580-0A8F0AA4A237}"/>
                </a:ext>
              </a:extLst>
            </p:cNvPr>
            <p:cNvSpPr/>
            <p:nvPr/>
          </p:nvSpPr>
          <p:spPr>
            <a:xfrm rot="5400000">
              <a:off x="881548" y="3494284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cxnSp>
          <p:nvCxnSpPr>
            <p:cNvPr id="29" name="Straight Connector 57">
              <a:extLst>
                <a:ext uri="{FF2B5EF4-FFF2-40B4-BE49-F238E27FC236}">
                  <a16:creationId xmlns:a16="http://schemas.microsoft.com/office/drawing/2014/main" id="{1FEFCE70-1FC0-3B7C-7D4E-9092F08ABE95}"/>
                </a:ext>
              </a:extLst>
            </p:cNvPr>
            <p:cNvCxnSpPr>
              <a:cxnSpLocks/>
              <a:stCxn id="19" idx="2"/>
              <a:endCxn id="18" idx="6"/>
            </p:cNvCxnSpPr>
            <p:nvPr/>
          </p:nvCxnSpPr>
          <p:spPr>
            <a:xfrm flipV="1">
              <a:off x="957546" y="2752747"/>
              <a:ext cx="0" cy="293165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57">
              <a:extLst>
                <a:ext uri="{FF2B5EF4-FFF2-40B4-BE49-F238E27FC236}">
                  <a16:creationId xmlns:a16="http://schemas.microsoft.com/office/drawing/2014/main" id="{9F49B0B2-0AF9-F04A-C124-5FED14CC2517}"/>
                </a:ext>
              </a:extLst>
            </p:cNvPr>
            <p:cNvCxnSpPr>
              <a:cxnSpLocks/>
              <a:stCxn id="23" idx="2"/>
              <a:endCxn id="19" idx="6"/>
            </p:cNvCxnSpPr>
            <p:nvPr/>
          </p:nvCxnSpPr>
          <p:spPr>
            <a:xfrm flipV="1">
              <a:off x="957546" y="3197908"/>
              <a:ext cx="0" cy="293164"/>
            </a:xfrm>
            <a:prstGeom prst="line">
              <a:avLst/>
            </a:prstGeom>
            <a:ln w="12700">
              <a:solidFill>
                <a:srgbClr val="008E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D97525A-5C63-048C-4E37-98D0CB1F58B1}"/>
                </a:ext>
              </a:extLst>
            </p:cNvPr>
            <p:cNvSpPr txBox="1"/>
            <p:nvPr/>
          </p:nvSpPr>
          <p:spPr>
            <a:xfrm>
              <a:off x="1103118" y="2077700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Администрация МФЦ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10AD6B1-2624-C431-5FD2-6CF00FA291BF}"/>
                </a:ext>
              </a:extLst>
            </p:cNvPr>
            <p:cNvSpPr txBox="1"/>
            <p:nvPr/>
          </p:nvSpPr>
          <p:spPr>
            <a:xfrm>
              <a:off x="1103118" y="2522861"/>
              <a:ext cx="2872978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Шанхайская фондовая бирж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6EFDC6A-869E-91BF-0887-8A7DE82E8A33}"/>
                </a:ext>
              </a:extLst>
            </p:cNvPr>
            <p:cNvSpPr txBox="1"/>
            <p:nvPr/>
          </p:nvSpPr>
          <p:spPr>
            <a:xfrm>
              <a:off x="1103117" y="2968022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Фонд Шелкового пути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98B5B3CF-6EA6-40E7-739E-666955813F42}"/>
                </a:ext>
              </a:extLst>
            </p:cNvPr>
            <p:cNvSpPr txBox="1"/>
            <p:nvPr/>
          </p:nvSpPr>
          <p:spPr>
            <a:xfrm>
              <a:off x="1103117" y="3413182"/>
              <a:ext cx="2503959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NASDAQ</a:t>
              </a: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6849609C-94BE-C191-DBDE-24EB80586762}"/>
              </a:ext>
            </a:extLst>
          </p:cNvPr>
          <p:cNvSpPr txBox="1"/>
          <p:nvPr/>
        </p:nvSpPr>
        <p:spPr>
          <a:xfrm>
            <a:off x="4578750" y="1749807"/>
            <a:ext cx="2503959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ПРОДУКТ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52" name="Straight Connector 57">
            <a:extLst>
              <a:ext uri="{FF2B5EF4-FFF2-40B4-BE49-F238E27FC236}">
                <a16:creationId xmlns:a16="http://schemas.microsoft.com/office/drawing/2014/main" id="{7E545088-8965-3405-DDE8-14F3ADDAA5CD}"/>
              </a:ext>
            </a:extLst>
          </p:cNvPr>
          <p:cNvCxnSpPr>
            <a:cxnSpLocks/>
            <a:stCxn id="53" idx="2"/>
            <a:endCxn id="51" idx="6"/>
          </p:cNvCxnSpPr>
          <p:nvPr/>
        </p:nvCxnSpPr>
        <p:spPr>
          <a:xfrm flipV="1">
            <a:off x="4662056" y="2307586"/>
            <a:ext cx="0" cy="1470161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7">
            <a:extLst>
              <a:ext uri="{FF2B5EF4-FFF2-40B4-BE49-F238E27FC236}">
                <a16:creationId xmlns:a16="http://schemas.microsoft.com/office/drawing/2014/main" id="{51463A17-3502-0827-8137-F3A883723E03}"/>
              </a:ext>
            </a:extLst>
          </p:cNvPr>
          <p:cNvCxnSpPr>
            <a:cxnSpLocks/>
            <a:stCxn id="54" idx="2"/>
            <a:endCxn id="53" idx="6"/>
          </p:cNvCxnSpPr>
          <p:nvPr/>
        </p:nvCxnSpPr>
        <p:spPr>
          <a:xfrm flipV="1">
            <a:off x="4662056" y="3929743"/>
            <a:ext cx="0" cy="1676943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Овал 1053">
            <a:extLst>
              <a:ext uri="{FF2B5EF4-FFF2-40B4-BE49-F238E27FC236}">
                <a16:creationId xmlns:a16="http://schemas.microsoft.com/office/drawing/2014/main" id="{BD946395-5CE8-786B-549A-68167C439AC7}"/>
              </a:ext>
            </a:extLst>
          </p:cNvPr>
          <p:cNvSpPr/>
          <p:nvPr/>
        </p:nvSpPr>
        <p:spPr>
          <a:xfrm rot="5400000">
            <a:off x="4586058" y="2158802"/>
            <a:ext cx="151996" cy="145572"/>
          </a:xfrm>
          <a:prstGeom prst="ellipse">
            <a:avLst/>
          </a:prstGeom>
          <a:noFill/>
          <a:ln w="12700">
            <a:solidFill>
              <a:srgbClr val="008EA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1277E7D-E690-A851-C024-9EE0902C28E2}"/>
              </a:ext>
            </a:extLst>
          </p:cNvPr>
          <p:cNvSpPr txBox="1"/>
          <p:nvPr/>
        </p:nvSpPr>
        <p:spPr>
          <a:xfrm>
            <a:off x="4807627" y="2077700"/>
            <a:ext cx="2503959" cy="1436291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pPr>
              <a:spcAft>
                <a:spcPts val="400"/>
              </a:spcAft>
            </a:pPr>
            <a:r>
              <a:rPr lang="ru-RU" sz="1400">
                <a:latin typeface="Montserrat" panose="00000500000000000000" pitchFamily="2" charset="-52"/>
                <a:cs typeface="Mongolian Baiti" panose="03000500000000000000" pitchFamily="66" charset="0"/>
              </a:rPr>
              <a:t>Акции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pPr>
              <a:spcAft>
                <a:spcPts val="600"/>
              </a:spcAft>
            </a:pPr>
            <a:r>
              <a:rPr lang="en-US" sz="1400">
                <a:latin typeface="Montserrat" panose="00000500000000000000" pitchFamily="2" charset="-52"/>
                <a:cs typeface="Mongolian Baiti" panose="03000500000000000000" pitchFamily="66" charset="0"/>
              </a:rPr>
              <a:t>(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IPO/SPO, Pre-IPO, 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сегмент регионального рынка акций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, Junior Mining, 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сегмент 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“</a:t>
            </a:r>
            <a:r>
              <a:rPr lang="ru-RU" sz="1400">
                <a:solidFill>
                  <a:srgbClr val="000000"/>
                </a:solidFill>
                <a:latin typeface="Montserrat" panose="00000500000000000000" pitchFamily="2" charset="-52"/>
              </a:rPr>
              <a:t>Пояс и Путь</a:t>
            </a:r>
            <a:r>
              <a:rPr lang="en-US" sz="1400">
                <a:solidFill>
                  <a:srgbClr val="000000"/>
                </a:solidFill>
                <a:latin typeface="Montserrat" panose="00000500000000000000" pitchFamily="2" charset="-52"/>
              </a:rPr>
              <a:t>”</a:t>
            </a:r>
            <a:r>
              <a:rPr lang="en-US" sz="1400">
                <a:latin typeface="Montserrat" panose="00000500000000000000" pitchFamily="2" charset="-52"/>
                <a:cs typeface="Mongolian Baiti" panose="03000500000000000000" pitchFamily="66" charset="0"/>
              </a:rPr>
              <a:t>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BF2D8AA-A360-6C39-DF35-DBEB7E7A314D}"/>
              </a:ext>
            </a:extLst>
          </p:cNvPr>
          <p:cNvGrpSpPr/>
          <p:nvPr/>
        </p:nvGrpSpPr>
        <p:grpSpPr>
          <a:xfrm>
            <a:off x="4589270" y="3695527"/>
            <a:ext cx="2722317" cy="1651734"/>
            <a:chOff x="4589270" y="3695526"/>
            <a:chExt cx="2722317" cy="1651734"/>
          </a:xfrm>
        </p:grpSpPr>
        <p:sp>
          <p:nvSpPr>
            <p:cNvPr id="53" name="Овал 1053">
              <a:extLst>
                <a:ext uri="{FF2B5EF4-FFF2-40B4-BE49-F238E27FC236}">
                  <a16:creationId xmlns:a16="http://schemas.microsoft.com/office/drawing/2014/main" id="{5202733D-737D-C522-2735-3CEDEF689333}"/>
                </a:ext>
              </a:extLst>
            </p:cNvPr>
            <p:cNvSpPr/>
            <p:nvPr/>
          </p:nvSpPr>
          <p:spPr>
            <a:xfrm rot="5400000">
              <a:off x="4586058" y="3780958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68AFB7F-E7C0-84DC-02B5-FCAB9404065C}"/>
                </a:ext>
              </a:extLst>
            </p:cNvPr>
            <p:cNvSpPr txBox="1"/>
            <p:nvPr/>
          </p:nvSpPr>
          <p:spPr>
            <a:xfrm>
              <a:off x="4807628" y="3695526"/>
              <a:ext cx="2503959" cy="165173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Долговые инструменты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  <a:p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(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государственные облигации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, 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частные размещения (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exempt/wholesale), </a:t>
              </a:r>
              <a:r>
                <a:rPr lang="ru-RU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исламские, зеленые и социальные облигации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)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3B1F041-C075-073E-3F08-2409252765B7}"/>
              </a:ext>
            </a:extLst>
          </p:cNvPr>
          <p:cNvGrpSpPr/>
          <p:nvPr/>
        </p:nvGrpSpPr>
        <p:grpSpPr>
          <a:xfrm>
            <a:off x="4589270" y="5528796"/>
            <a:ext cx="2722316" cy="523220"/>
            <a:chOff x="4589270" y="5528796"/>
            <a:chExt cx="2722316" cy="523220"/>
          </a:xfrm>
        </p:grpSpPr>
        <p:sp>
          <p:nvSpPr>
            <p:cNvPr id="54" name="Овал 1053">
              <a:extLst>
                <a:ext uri="{FF2B5EF4-FFF2-40B4-BE49-F238E27FC236}">
                  <a16:creationId xmlns:a16="http://schemas.microsoft.com/office/drawing/2014/main" id="{8705227B-FDFE-D29A-7230-98E639C85E12}"/>
                </a:ext>
              </a:extLst>
            </p:cNvPr>
            <p:cNvSpPr/>
            <p:nvPr/>
          </p:nvSpPr>
          <p:spPr>
            <a:xfrm rot="5400000">
              <a:off x="4586058" y="5609898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1D98961-4855-C474-EB10-DC0E47BECE83}"/>
                </a:ext>
              </a:extLst>
            </p:cNvPr>
            <p:cNvSpPr txBox="1"/>
            <p:nvPr/>
          </p:nvSpPr>
          <p:spPr>
            <a:xfrm>
              <a:off x="4807627" y="5528796"/>
              <a:ext cx="2503959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Структурированные продукты 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(</a:t>
              </a:r>
              <a:r>
                <a:rPr lang="en-US" sz="1400">
                  <a:solidFill>
                    <a:srgbClr val="000000"/>
                  </a:solidFill>
                  <a:latin typeface="Montserrat" panose="00000500000000000000" pitchFamily="2" charset="-52"/>
                </a:rPr>
                <a:t>ETF, ETN)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27977EFD-EAD5-394E-E302-D0231D7E9616}"/>
              </a:ext>
            </a:extLst>
          </p:cNvPr>
          <p:cNvSpPr txBox="1"/>
          <p:nvPr/>
        </p:nvSpPr>
        <p:spPr>
          <a:xfrm>
            <a:off x="8283260" y="1749807"/>
            <a:ext cx="2503959" cy="481192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ПРЕИМУЩЕСТВА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64" name="Straight Connector 57">
            <a:extLst>
              <a:ext uri="{FF2B5EF4-FFF2-40B4-BE49-F238E27FC236}">
                <a16:creationId xmlns:a16="http://schemas.microsoft.com/office/drawing/2014/main" id="{E31C8A09-BC36-1BC0-2CD6-26A8241C7AAB}"/>
              </a:ext>
            </a:extLst>
          </p:cNvPr>
          <p:cNvCxnSpPr>
            <a:cxnSpLocks/>
            <a:stCxn id="6" idx="2"/>
            <a:endCxn id="5" idx="6"/>
          </p:cNvCxnSpPr>
          <p:nvPr/>
        </p:nvCxnSpPr>
        <p:spPr>
          <a:xfrm flipV="1">
            <a:off x="8366566" y="2307586"/>
            <a:ext cx="0" cy="1051926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57">
            <a:extLst>
              <a:ext uri="{FF2B5EF4-FFF2-40B4-BE49-F238E27FC236}">
                <a16:creationId xmlns:a16="http://schemas.microsoft.com/office/drawing/2014/main" id="{1B54C2F3-8107-A5C5-3A93-F897F67B2220}"/>
              </a:ext>
            </a:extLst>
          </p:cNvPr>
          <p:cNvCxnSpPr>
            <a:cxnSpLocks/>
            <a:stCxn id="8" idx="2"/>
            <a:endCxn id="6" idx="6"/>
          </p:cNvCxnSpPr>
          <p:nvPr/>
        </p:nvCxnSpPr>
        <p:spPr>
          <a:xfrm flipV="1">
            <a:off x="8366566" y="3511508"/>
            <a:ext cx="0" cy="606551"/>
          </a:xfrm>
          <a:prstGeom prst="line">
            <a:avLst/>
          </a:prstGeom>
          <a:ln w="12700">
            <a:solidFill>
              <a:srgbClr val="008E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530DF7-44D1-65CA-36FF-2A651E438F88}"/>
              </a:ext>
            </a:extLst>
          </p:cNvPr>
          <p:cNvGrpSpPr/>
          <p:nvPr/>
        </p:nvGrpSpPr>
        <p:grpSpPr>
          <a:xfrm>
            <a:off x="8293780" y="2077700"/>
            <a:ext cx="2940670" cy="954107"/>
            <a:chOff x="8293780" y="2077700"/>
            <a:chExt cx="2940670" cy="954107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856D277F-2FA6-02C1-2319-30E22AB13672}"/>
                </a:ext>
              </a:extLst>
            </p:cNvPr>
            <p:cNvSpPr txBox="1"/>
            <p:nvPr/>
          </p:nvSpPr>
          <p:spPr>
            <a:xfrm>
              <a:off x="8512136" y="2077700"/>
              <a:ext cx="2722314" cy="95410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Регуляторный режим,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 </a:t>
              </a:r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хорошо знакомый и понятный иностранным инвесторам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5" name="Овал 1053">
              <a:extLst>
                <a:ext uri="{FF2B5EF4-FFF2-40B4-BE49-F238E27FC236}">
                  <a16:creationId xmlns:a16="http://schemas.microsoft.com/office/drawing/2014/main" id="{1B8CC303-E18D-F7C8-5383-42DD018026C6}"/>
                </a:ext>
              </a:extLst>
            </p:cNvPr>
            <p:cNvSpPr/>
            <p:nvPr/>
          </p:nvSpPr>
          <p:spPr>
            <a:xfrm rot="5400000">
              <a:off x="8290568" y="2158802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3D8E987-C1EF-134B-D993-A3A4B0B2E1FF}"/>
              </a:ext>
            </a:extLst>
          </p:cNvPr>
          <p:cNvGrpSpPr/>
          <p:nvPr/>
        </p:nvGrpSpPr>
        <p:grpSpPr>
          <a:xfrm>
            <a:off x="8293780" y="4039287"/>
            <a:ext cx="2940666" cy="853382"/>
            <a:chOff x="8293780" y="4039287"/>
            <a:chExt cx="2940666" cy="853382"/>
          </a:xfrm>
        </p:grpSpPr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CB014E5-802F-753F-0A4F-D721090FCD54}"/>
                </a:ext>
              </a:extLst>
            </p:cNvPr>
            <p:cNvSpPr txBox="1"/>
            <p:nvPr/>
          </p:nvSpPr>
          <p:spPr>
            <a:xfrm>
              <a:off x="8512136" y="4039287"/>
              <a:ext cx="2722310" cy="8533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Высокотехнологичная торговая платформа </a:t>
              </a:r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NASDAQ</a:t>
              </a:r>
            </a:p>
          </p:txBody>
        </p:sp>
        <p:sp>
          <p:nvSpPr>
            <p:cNvPr id="8" name="Овал 1053">
              <a:extLst>
                <a:ext uri="{FF2B5EF4-FFF2-40B4-BE49-F238E27FC236}">
                  <a16:creationId xmlns:a16="http://schemas.microsoft.com/office/drawing/2014/main" id="{1FA2D6A2-FDB6-1B03-8CE6-AA74A9FFD2E6}"/>
                </a:ext>
              </a:extLst>
            </p:cNvPr>
            <p:cNvSpPr/>
            <p:nvPr/>
          </p:nvSpPr>
          <p:spPr>
            <a:xfrm rot="5400000">
              <a:off x="8290568" y="4121271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34D933E-AE3A-5E46-F662-E675EAC35A27}"/>
              </a:ext>
            </a:extLst>
          </p:cNvPr>
          <p:cNvGrpSpPr/>
          <p:nvPr/>
        </p:nvGrpSpPr>
        <p:grpSpPr>
          <a:xfrm>
            <a:off x="8293780" y="3273937"/>
            <a:ext cx="2940660" cy="523220"/>
            <a:chOff x="8293780" y="3233850"/>
            <a:chExt cx="2940660" cy="523220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381ED071-7B96-B38C-F999-363D41D12AD0}"/>
                </a:ext>
              </a:extLst>
            </p:cNvPr>
            <p:cNvSpPr txBox="1"/>
            <p:nvPr/>
          </p:nvSpPr>
          <p:spPr>
            <a:xfrm>
              <a:off x="8512130" y="3233850"/>
              <a:ext cx="2722310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>
              <a:spAutoFit/>
            </a:bodyPr>
            <a:lstStyle/>
            <a:p>
              <a:r>
                <a:rPr lang="ru-RU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Инфраструктура мирового класса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" name="Овал 1053">
              <a:extLst>
                <a:ext uri="{FF2B5EF4-FFF2-40B4-BE49-F238E27FC236}">
                  <a16:creationId xmlns:a16="http://schemas.microsoft.com/office/drawing/2014/main" id="{C996AFC3-30C7-190C-E029-37B35F4FBEE9}"/>
                </a:ext>
              </a:extLst>
            </p:cNvPr>
            <p:cNvSpPr/>
            <p:nvPr/>
          </p:nvSpPr>
          <p:spPr>
            <a:xfrm rot="5400000">
              <a:off x="8290568" y="3322637"/>
              <a:ext cx="151996" cy="145572"/>
            </a:xfrm>
            <a:prstGeom prst="ellipse">
              <a:avLst/>
            </a:prstGeom>
            <a:noFill/>
            <a:ln w="12700">
              <a:solidFill>
                <a:srgbClr val="008EAA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</p:spTree>
    <p:extLst>
      <p:ext uri="{BB962C8B-B14F-4D97-AF65-F5344CB8AC3E}">
        <p14:creationId xmlns:p14="http://schemas.microsoft.com/office/powerpoint/2010/main" val="416900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9A7DC92-E6E0-F85D-D643-D022689C0378}"/>
              </a:ext>
            </a:extLst>
          </p:cNvPr>
          <p:cNvSpPr txBox="1"/>
          <p:nvPr/>
        </p:nvSpPr>
        <p:spPr>
          <a:xfrm>
            <a:off x="1115791" y="2342076"/>
            <a:ext cx="20794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,9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млн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Розничных инвесторов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461547B-F320-83E2-828D-91EC8BEA31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1216628"/>
              </p:ext>
            </p:extLst>
          </p:nvPr>
        </p:nvGraphicFramePr>
        <p:xfrm>
          <a:off x="1794865" y="2171412"/>
          <a:ext cx="4171052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4B231C19-6581-F296-4C38-7C9083947714}"/>
              </a:ext>
            </a:extLst>
          </p:cNvPr>
          <p:cNvSpPr txBox="1"/>
          <p:nvPr/>
        </p:nvSpPr>
        <p:spPr>
          <a:xfrm>
            <a:off x="1115791" y="2942857"/>
            <a:ext cx="1647957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+42 тыс.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Новых розничных инвесторов в ноябре 2024 г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CF1E7F-60B0-9567-58C0-1F6E6E97154F}"/>
              </a:ext>
            </a:extLst>
          </p:cNvPr>
          <p:cNvSpPr txBox="1"/>
          <p:nvPr/>
        </p:nvSpPr>
        <p:spPr>
          <a:xfrm>
            <a:off x="2029944" y="4404678"/>
            <a:ext cx="384281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9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91CB1FF-F824-C06C-847C-D41370F8E7F2}"/>
              </a:ext>
            </a:extLst>
          </p:cNvPr>
          <p:cNvSpPr txBox="1"/>
          <p:nvPr/>
        </p:nvSpPr>
        <p:spPr>
          <a:xfrm>
            <a:off x="2503483" y="4362503"/>
            <a:ext cx="532788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6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50D8B1-7A0D-4661-75CE-0CAC4A43DF6A}"/>
              </a:ext>
            </a:extLst>
          </p:cNvPr>
          <p:cNvSpPr txBox="1"/>
          <p:nvPr/>
        </p:nvSpPr>
        <p:spPr>
          <a:xfrm>
            <a:off x="3063767" y="4289512"/>
            <a:ext cx="54042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02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79029F-A1AA-B3D6-CE2B-6F492AFA322C}"/>
              </a:ext>
            </a:extLst>
          </p:cNvPr>
          <p:cNvSpPr txBox="1"/>
          <p:nvPr/>
        </p:nvSpPr>
        <p:spPr>
          <a:xfrm>
            <a:off x="3600983" y="4212268"/>
            <a:ext cx="55776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59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lang="en-US" sz="1050" dirty="0">
                <a:latin typeface="Montserrat" panose="00000500000000000000" pitchFamily="2" charset="-52"/>
              </a:rPr>
              <a:t>9</a:t>
            </a:r>
            <a:r>
              <a:rPr lang="ru-RU" sz="1050" dirty="0">
                <a:latin typeface="Montserrat" panose="00000500000000000000" pitchFamily="2" charset="-52"/>
              </a:rPr>
              <a:t> тыс.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A3910BA-E316-1ED7-902D-AB4F7F0DC8E4}"/>
              </a:ext>
            </a:extLst>
          </p:cNvPr>
          <p:cNvSpPr txBox="1"/>
          <p:nvPr/>
        </p:nvSpPr>
        <p:spPr>
          <a:xfrm>
            <a:off x="4156652" y="3737330"/>
            <a:ext cx="55776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24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3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тыс.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D2D62C3-E812-AAFD-D2AD-8FB45CC906C8}"/>
              </a:ext>
            </a:extLst>
          </p:cNvPr>
          <p:cNvSpPr txBox="1"/>
          <p:nvPr/>
        </p:nvSpPr>
        <p:spPr>
          <a:xfrm>
            <a:off x="4716026" y="2390135"/>
            <a:ext cx="54141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</a:t>
            </a:r>
            <a:r>
              <a:rPr lang="en-US" sz="1050" dirty="0">
                <a:latin typeface="Montserrat" panose="00000500000000000000" pitchFamily="2" charset="-52"/>
              </a:rPr>
              <a:t>8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72A660-1918-B17A-D0F1-D979FE7BAD9D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560DEE-38F3-4857-D339-93070E0C0A9F}"/>
              </a:ext>
            </a:extLst>
          </p:cNvPr>
          <p:cNvSpPr txBox="1"/>
          <p:nvPr/>
        </p:nvSpPr>
        <p:spPr>
          <a:xfrm>
            <a:off x="6521481" y="3096745"/>
            <a:ext cx="204496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0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400" dirty="0">
                <a:latin typeface="Montserrat" panose="00000500000000000000" pitchFamily="2" charset="-52"/>
                <a:cs typeface="Mongolian Baiti" panose="03000500000000000000" pitchFamily="66" charset="0"/>
              </a:rPr>
              <a:t>Торговых членов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ECA0113-5FE2-F5DA-CE28-D2A789698078}"/>
              </a:ext>
            </a:extLst>
          </p:cNvPr>
          <p:cNvSpPr txBox="1"/>
          <p:nvPr/>
        </p:nvSpPr>
        <p:spPr>
          <a:xfrm>
            <a:off x="884760" y="894639"/>
            <a:ext cx="10432998" cy="461665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algn="just"/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ноябре 2024 года открыто более 42 тысяч новых счетов розничных инвесторов. Количество торговых также увеличилось с 48 до 50 с добавлением двух местных торговых членов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83C324DD-E9C4-E5CB-B1AA-66FE44A406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8207945"/>
              </p:ext>
            </p:extLst>
          </p:nvPr>
        </p:nvGraphicFramePr>
        <p:xfrm>
          <a:off x="8193551" y="1796517"/>
          <a:ext cx="3290026" cy="3211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2FD64AC-5415-C72A-A1E8-44F5EDF29AEC}"/>
              </a:ext>
            </a:extLst>
          </p:cNvPr>
          <p:cNvSpPr txBox="1"/>
          <p:nvPr/>
        </p:nvSpPr>
        <p:spPr>
          <a:xfrm>
            <a:off x="5313268" y="2027638"/>
            <a:ext cx="482172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 kumimoji="0" sz="105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ru-RU" dirty="0"/>
              <a:t>1,9 </a:t>
            </a:r>
          </a:p>
          <a:p>
            <a:pPr>
              <a:spcAft>
                <a:spcPts val="0"/>
              </a:spcAft>
              <a:defRPr/>
            </a:pPr>
            <a:r>
              <a:rPr lang="ru-RU" dirty="0"/>
              <a:t>млн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0123FF-32CD-E3C2-B262-0E0A05226841}"/>
              </a:ext>
            </a:extLst>
          </p:cNvPr>
          <p:cNvSpPr txBox="1"/>
          <p:nvPr/>
        </p:nvSpPr>
        <p:spPr>
          <a:xfrm>
            <a:off x="1115791" y="1749807"/>
            <a:ext cx="285309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ОЗНИЧНЫЕ ИНВЕСТОРЫ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D608DF-899F-BC78-E834-75944859BB02}"/>
              </a:ext>
            </a:extLst>
          </p:cNvPr>
          <p:cNvSpPr txBox="1"/>
          <p:nvPr/>
        </p:nvSpPr>
        <p:spPr>
          <a:xfrm>
            <a:off x="6521481" y="1751766"/>
            <a:ext cx="2119085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ТОРГОВЫЕ ЧЛЕНЫ</a:t>
            </a:r>
            <a:endParaRPr lang="en-US" sz="12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D327E7-DF7F-046F-6264-B66A4ADE35A8}"/>
              </a:ext>
            </a:extLst>
          </p:cNvPr>
          <p:cNvSpPr txBox="1"/>
          <p:nvPr/>
        </p:nvSpPr>
        <p:spPr>
          <a:xfrm>
            <a:off x="6284519" y="5492494"/>
            <a:ext cx="50227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Торговые члены Биржи МФЦА имеют право торговать финансовыми инструментами (акциями, облигациями) на Бирже МФЦА. Они осуществляют сделки от имени своих клиентов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CB6614-2CA5-FB01-214B-36E455F342D8}"/>
              </a:ext>
            </a:extLst>
          </p:cNvPr>
          <p:cNvSpPr txBox="1"/>
          <p:nvPr/>
        </p:nvSpPr>
        <p:spPr>
          <a:xfrm>
            <a:off x="927042" y="5492494"/>
            <a:ext cx="498043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Розничные инвесторы - частные лица, инвестирующие свои собственные средства на финансовых рынках, в отличие от представителей организаций или управляющих средствами других лиц.</a:t>
            </a:r>
            <a:endParaRPr lang="en-US" sz="11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15" name="Group 13">
            <a:extLst>
              <a:ext uri="{FF2B5EF4-FFF2-40B4-BE49-F238E27FC236}">
                <a16:creationId xmlns:a16="http://schemas.microsoft.com/office/drawing/2014/main" id="{FD8E0A19-26C8-0C37-9E8B-60381F6A752A}"/>
              </a:ext>
            </a:extLst>
          </p:cNvPr>
          <p:cNvGrpSpPr/>
          <p:nvPr/>
        </p:nvGrpSpPr>
        <p:grpSpPr>
          <a:xfrm>
            <a:off x="6433552" y="4908031"/>
            <a:ext cx="1271457" cy="276999"/>
            <a:chOff x="6470624" y="5013777"/>
            <a:chExt cx="1271457" cy="2769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CF38E1-F016-25ED-FA40-B35D6F2B9FD8}"/>
                </a:ext>
              </a:extLst>
            </p:cNvPr>
            <p:cNvSpPr txBox="1"/>
            <p:nvPr/>
          </p:nvSpPr>
          <p:spPr>
            <a:xfrm>
              <a:off x="6726936" y="5013777"/>
              <a:ext cx="101514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ахстан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20" name="Rectangle 41">
              <a:extLst>
                <a:ext uri="{FF2B5EF4-FFF2-40B4-BE49-F238E27FC236}">
                  <a16:creationId xmlns:a16="http://schemas.microsoft.com/office/drawing/2014/main" id="{A120B639-0DED-B695-E37C-61F1A16B53FC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solidFill>
                <a:srgbClr val="00245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2454"/>
                </a:solidFill>
              </a:endParaRPr>
            </a:p>
          </p:txBody>
        </p:sp>
      </p:grpSp>
      <p:grpSp>
        <p:nvGrpSpPr>
          <p:cNvPr id="21" name="Group 10">
            <a:extLst>
              <a:ext uri="{FF2B5EF4-FFF2-40B4-BE49-F238E27FC236}">
                <a16:creationId xmlns:a16="http://schemas.microsoft.com/office/drawing/2014/main" id="{DCB91D8F-2284-0962-CCC3-E476F68937C8}"/>
              </a:ext>
            </a:extLst>
          </p:cNvPr>
          <p:cNvGrpSpPr/>
          <p:nvPr/>
        </p:nvGrpSpPr>
        <p:grpSpPr>
          <a:xfrm>
            <a:off x="8804765" y="4908031"/>
            <a:ext cx="1663879" cy="276999"/>
            <a:chOff x="8559537" y="5013777"/>
            <a:chExt cx="1663879" cy="276999"/>
          </a:xfrm>
        </p:grpSpPr>
        <p:sp>
          <p:nvSpPr>
            <p:cNvPr id="22" name="Rectangle 43">
              <a:extLst>
                <a:ext uri="{FF2B5EF4-FFF2-40B4-BE49-F238E27FC236}">
                  <a16:creationId xmlns:a16="http://schemas.microsoft.com/office/drawing/2014/main" id="{F55AD9F4-0C0E-1AFE-77C1-AFE94FC74219}"/>
                </a:ext>
              </a:extLst>
            </p:cNvPr>
            <p:cNvSpPr/>
            <p:nvPr/>
          </p:nvSpPr>
          <p:spPr>
            <a:xfrm>
              <a:off x="8559537" y="5104884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14491D6-E671-AC82-82D3-7FB8FA661055}"/>
                </a:ext>
              </a:extLst>
            </p:cNvPr>
            <p:cNvSpPr txBox="1"/>
            <p:nvPr/>
          </p:nvSpPr>
          <p:spPr>
            <a:xfrm>
              <a:off x="8834757" y="5013777"/>
              <a:ext cx="138865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Китай</a:t>
              </a: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/</a:t>
              </a: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Гонконг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grpSp>
        <p:nvGrpSpPr>
          <p:cNvPr id="27" name="Group 11">
            <a:extLst>
              <a:ext uri="{FF2B5EF4-FFF2-40B4-BE49-F238E27FC236}">
                <a16:creationId xmlns:a16="http://schemas.microsoft.com/office/drawing/2014/main" id="{E95E568F-34FB-F180-2999-022DD1908126}"/>
              </a:ext>
            </a:extLst>
          </p:cNvPr>
          <p:cNvGrpSpPr/>
          <p:nvPr/>
        </p:nvGrpSpPr>
        <p:grpSpPr>
          <a:xfrm>
            <a:off x="7714902" y="4908031"/>
            <a:ext cx="1079970" cy="276999"/>
            <a:chOff x="7458235" y="5013777"/>
            <a:chExt cx="1079970" cy="276999"/>
          </a:xfrm>
        </p:grpSpPr>
        <p:sp>
          <p:nvSpPr>
            <p:cNvPr id="28" name="Rectangle 42">
              <a:extLst>
                <a:ext uri="{FF2B5EF4-FFF2-40B4-BE49-F238E27FC236}">
                  <a16:creationId xmlns:a16="http://schemas.microsoft.com/office/drawing/2014/main" id="{383DCFE3-DACA-2ACF-62A5-1D1E7F5463A2}"/>
                </a:ext>
              </a:extLst>
            </p:cNvPr>
            <p:cNvSpPr/>
            <p:nvPr/>
          </p:nvSpPr>
          <p:spPr>
            <a:xfrm>
              <a:off x="7458235" y="5104884"/>
              <a:ext cx="305177" cy="94784"/>
            </a:xfrm>
            <a:prstGeom prst="rect">
              <a:avLst/>
            </a:prstGeom>
            <a:solidFill>
              <a:srgbClr val="0075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80606D3-A628-3719-B858-75E1D43A2249}"/>
                </a:ext>
              </a:extLst>
            </p:cNvPr>
            <p:cNvSpPr txBox="1"/>
            <p:nvPr/>
          </p:nvSpPr>
          <p:spPr>
            <a:xfrm>
              <a:off x="7732590" y="5013777"/>
              <a:ext cx="80561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Европа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grpSp>
        <p:nvGrpSpPr>
          <p:cNvPr id="30" name="Group 9">
            <a:extLst>
              <a:ext uri="{FF2B5EF4-FFF2-40B4-BE49-F238E27FC236}">
                <a16:creationId xmlns:a16="http://schemas.microsoft.com/office/drawing/2014/main" id="{04BBB0B4-44F0-E1DB-0566-DBCCDE3C91DD}"/>
              </a:ext>
            </a:extLst>
          </p:cNvPr>
          <p:cNvGrpSpPr/>
          <p:nvPr/>
        </p:nvGrpSpPr>
        <p:grpSpPr>
          <a:xfrm>
            <a:off x="10478537" y="4908031"/>
            <a:ext cx="841757" cy="276999"/>
            <a:chOff x="9576861" y="5013777"/>
            <a:chExt cx="841757" cy="276999"/>
          </a:xfrm>
        </p:grpSpPr>
        <p:sp>
          <p:nvSpPr>
            <p:cNvPr id="31" name="Rectangle 44">
              <a:extLst>
                <a:ext uri="{FF2B5EF4-FFF2-40B4-BE49-F238E27FC236}">
                  <a16:creationId xmlns:a16="http://schemas.microsoft.com/office/drawing/2014/main" id="{4D8A2592-CD1B-EE9C-CA35-904FE43003EB}"/>
                </a:ext>
              </a:extLst>
            </p:cNvPr>
            <p:cNvSpPr/>
            <p:nvPr/>
          </p:nvSpPr>
          <p:spPr>
            <a:xfrm>
              <a:off x="9576861" y="5104884"/>
              <a:ext cx="305177" cy="94784"/>
            </a:xfrm>
            <a:prstGeom prst="rect">
              <a:avLst/>
            </a:prstGeom>
            <a:solidFill>
              <a:srgbClr val="7CB5B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8F6E70D-AD60-53DD-E98D-F03EA67D1B9D}"/>
                </a:ext>
              </a:extLst>
            </p:cNvPr>
            <p:cNvSpPr txBox="1"/>
            <p:nvPr/>
          </p:nvSpPr>
          <p:spPr>
            <a:xfrm>
              <a:off x="9852082" y="5013777"/>
              <a:ext cx="56653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ОАЭ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1D9A82D-1B0D-49BB-4232-5F36564F9A17}"/>
              </a:ext>
            </a:extLst>
          </p:cNvPr>
          <p:cNvSpPr txBox="1"/>
          <p:nvPr/>
        </p:nvSpPr>
        <p:spPr>
          <a:xfrm>
            <a:off x="874240" y="354965"/>
            <a:ext cx="10304043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РОЗНИЧНЫЕ ИНВЕСТОРЫ И ТОРГОВЫЕ ЧЛЕНЫ</a:t>
            </a:r>
          </a:p>
        </p:txBody>
      </p:sp>
    </p:spTree>
    <p:extLst>
      <p:ext uri="{BB962C8B-B14F-4D97-AF65-F5344CB8AC3E}">
        <p14:creationId xmlns:p14="http://schemas.microsoft.com/office/powerpoint/2010/main" val="227870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11">
            <a:extLst>
              <a:ext uri="{FF2B5EF4-FFF2-40B4-BE49-F238E27FC236}">
                <a16:creationId xmlns:a16="http://schemas.microsoft.com/office/drawing/2014/main" id="{55C9393F-5C56-B221-75A0-D302DCC0CA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7925645"/>
              </p:ext>
            </p:extLst>
          </p:nvPr>
        </p:nvGraphicFramePr>
        <p:xfrm>
          <a:off x="2096782" y="2103757"/>
          <a:ext cx="3600000" cy="2802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44691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AIX QAZAQ INDE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A7DC92-E6E0-F85D-D643-D022689C0378}"/>
              </a:ext>
            </a:extLst>
          </p:cNvPr>
          <p:cNvSpPr txBox="1"/>
          <p:nvPr/>
        </p:nvSpPr>
        <p:spPr>
          <a:xfrm>
            <a:off x="1115791" y="2695350"/>
            <a:ext cx="10210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 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03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Значение индекса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D72A660-1918-B17A-D0F1-D979FE7BAD9D}"/>
              </a:ext>
            </a:extLst>
          </p:cNvPr>
          <p:cNvSpPr/>
          <p:nvPr/>
        </p:nvSpPr>
        <p:spPr>
          <a:xfrm>
            <a:off x="884761" y="1927110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F0FBD74-1BC8-5257-6CF3-9781229D5275}"/>
              </a:ext>
            </a:extLst>
          </p:cNvPr>
          <p:cNvSpPr txBox="1"/>
          <p:nvPr/>
        </p:nvSpPr>
        <p:spPr>
          <a:xfrm>
            <a:off x="927042" y="5491639"/>
            <a:ext cx="493815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Значение индекса является ключевым показателем для оценки состояния финансовых рынков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3C0BA75-0FD2-76CD-C06E-4A144E013343}"/>
              </a:ext>
            </a:extLst>
          </p:cNvPr>
          <p:cNvCxnSpPr>
            <a:cxnSpLocks/>
          </p:cNvCxnSpPr>
          <p:nvPr/>
        </p:nvCxnSpPr>
        <p:spPr>
          <a:xfrm>
            <a:off x="874240" y="6520895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9EF1E2AC-B7F0-9755-A337-6F10DC256FDC}"/>
              </a:ext>
            </a:extLst>
          </p:cNvPr>
          <p:cNvSpPr txBox="1"/>
          <p:nvPr/>
        </p:nvSpPr>
        <p:spPr>
          <a:xfrm>
            <a:off x="874240" y="6502895"/>
            <a:ext cx="4938158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*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Изменение стоимости</a:t>
            </a:r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 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акций в ноябре 2024 года</a:t>
            </a:r>
            <a:endParaRPr lang="en-US" sz="9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89AD67-2A77-9357-FD3E-45E6BC9DA4F1}"/>
              </a:ext>
            </a:extLst>
          </p:cNvPr>
          <p:cNvSpPr txBox="1"/>
          <p:nvPr/>
        </p:nvSpPr>
        <p:spPr>
          <a:xfrm>
            <a:off x="2346512" y="495652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72A479-F249-484B-4796-D3C6F90CFBD3}"/>
              </a:ext>
            </a:extLst>
          </p:cNvPr>
          <p:cNvSpPr txBox="1"/>
          <p:nvPr/>
        </p:nvSpPr>
        <p:spPr>
          <a:xfrm>
            <a:off x="3433918" y="4958869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2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7E754B8-805A-FC8A-6CFB-E64E277689AE}"/>
              </a:ext>
            </a:extLst>
          </p:cNvPr>
          <p:cNvSpPr txBox="1"/>
          <p:nvPr/>
        </p:nvSpPr>
        <p:spPr>
          <a:xfrm>
            <a:off x="4463130" y="4973026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2023</a:t>
            </a:r>
          </a:p>
        </p:txBody>
      </p:sp>
      <p:cxnSp>
        <p:nvCxnSpPr>
          <p:cNvPr id="51" name="Straight Connector 45">
            <a:extLst>
              <a:ext uri="{FF2B5EF4-FFF2-40B4-BE49-F238E27FC236}">
                <a16:creationId xmlns:a16="http://schemas.microsoft.com/office/drawing/2014/main" id="{6DDAB232-A01F-D694-D6C6-DF52EF97C578}"/>
              </a:ext>
            </a:extLst>
          </p:cNvPr>
          <p:cNvCxnSpPr/>
          <p:nvPr/>
        </p:nvCxnSpPr>
        <p:spPr>
          <a:xfrm>
            <a:off x="2096782" y="4877564"/>
            <a:ext cx="350851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6AD82038-4161-625A-17E7-661B095A2912}"/>
              </a:ext>
            </a:extLst>
          </p:cNvPr>
          <p:cNvSpPr txBox="1"/>
          <p:nvPr/>
        </p:nvSpPr>
        <p:spPr>
          <a:xfrm>
            <a:off x="1831906" y="496552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900">
                <a:latin typeface="Montserrat" panose="00000500000000000000" pitchFamily="2" charset="-52"/>
              </a:rPr>
              <a:t>Запуск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D0BB913E-0975-CF49-6F4B-AFE33584F8D0}"/>
              </a:ext>
            </a:extLst>
          </p:cNvPr>
          <p:cNvSpPr txBox="1"/>
          <p:nvPr/>
        </p:nvSpPr>
        <p:spPr>
          <a:xfrm>
            <a:off x="6369081" y="5492494"/>
            <a:ext cx="4938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Компании, включенные в индекс – это компании, зарегистрированные в Казахстане, доходы от бизнеса которых генерируются частично или полностью в Казахстане, или компании с существенной долей операционной деятельности в Казахстане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E2FBB72-B751-D905-F2B0-A5D002D0A84B}"/>
              </a:ext>
            </a:extLst>
          </p:cNvPr>
          <p:cNvSpPr txBox="1"/>
          <p:nvPr/>
        </p:nvSpPr>
        <p:spPr>
          <a:xfrm>
            <a:off x="1115791" y="1780629"/>
            <a:ext cx="2932228" cy="30497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ЗНАЧЕНИЕ ИНДЕКСА </a:t>
            </a:r>
            <a:r>
              <a:rPr lang="en-US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AIXQI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C782F6-55DB-F156-08A3-5A746B6D8803}"/>
              </a:ext>
            </a:extLst>
          </p:cNvPr>
          <p:cNvSpPr txBox="1"/>
          <p:nvPr/>
        </p:nvSpPr>
        <p:spPr>
          <a:xfrm>
            <a:off x="2532347" y="345970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01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D421DA6-1D41-06CE-B27D-3C5617A3FD59}"/>
              </a:ext>
            </a:extLst>
          </p:cNvPr>
          <p:cNvSpPr txBox="1"/>
          <p:nvPr/>
        </p:nvSpPr>
        <p:spPr>
          <a:xfrm>
            <a:off x="3447764" y="3655288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48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C902C3C-F5F7-93AB-F435-454396E01B7C}"/>
              </a:ext>
            </a:extLst>
          </p:cNvPr>
          <p:cNvSpPr txBox="1"/>
          <p:nvPr/>
        </p:nvSpPr>
        <p:spPr>
          <a:xfrm>
            <a:off x="4446325" y="2827970"/>
            <a:ext cx="511718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217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2779E52-9328-13C5-AD85-F6133651076F}"/>
              </a:ext>
            </a:extLst>
          </p:cNvPr>
          <p:cNvSpPr txBox="1"/>
          <p:nvPr/>
        </p:nvSpPr>
        <p:spPr>
          <a:xfrm>
            <a:off x="5148671" y="2219103"/>
            <a:ext cx="7621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1 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03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19">
            <a:extLst>
              <a:ext uri="{FF2B5EF4-FFF2-40B4-BE49-F238E27FC236}">
                <a16:creationId xmlns:a16="http://schemas.microsoft.com/office/drawing/2014/main" id="{3AC7371A-5620-E525-F120-6F01696EAADD}"/>
              </a:ext>
            </a:extLst>
          </p:cNvPr>
          <p:cNvCxnSpPr>
            <a:cxnSpLocks/>
          </p:cNvCxnSpPr>
          <p:nvPr/>
        </p:nvCxnSpPr>
        <p:spPr>
          <a:xfrm flipV="1">
            <a:off x="5563747" y="2517754"/>
            <a:ext cx="0" cy="232675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48">
            <a:extLst>
              <a:ext uri="{FF2B5EF4-FFF2-40B4-BE49-F238E27FC236}">
                <a16:creationId xmlns:a16="http://schemas.microsoft.com/office/drawing/2014/main" id="{06F6B044-BB4C-06E7-6B48-7238EAD475D2}"/>
              </a:ext>
            </a:extLst>
          </p:cNvPr>
          <p:cNvSpPr/>
          <p:nvPr/>
        </p:nvSpPr>
        <p:spPr>
          <a:xfrm>
            <a:off x="6284521" y="1927110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ED9A9AE-41E1-F160-A2A3-DA8031F593FF}"/>
              </a:ext>
            </a:extLst>
          </p:cNvPr>
          <p:cNvSpPr txBox="1"/>
          <p:nvPr/>
        </p:nvSpPr>
        <p:spPr>
          <a:xfrm>
            <a:off x="6490657" y="1753755"/>
            <a:ext cx="414652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СОСТАВЛЯЮЩИЕ ИНДЕКСА </a:t>
            </a:r>
            <a: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AIXQI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FDAAEAD-F9F3-F2C5-0B2C-A72F67FF8DD0}"/>
              </a:ext>
            </a:extLst>
          </p:cNvPr>
          <p:cNvSpPr txBox="1"/>
          <p:nvPr/>
        </p:nvSpPr>
        <p:spPr>
          <a:xfrm>
            <a:off x="9240535" y="2052659"/>
            <a:ext cx="169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Freedom (+9,7%*)</a:t>
            </a:r>
          </a:p>
        </p:txBody>
      </p:sp>
      <p:sp>
        <p:nvSpPr>
          <p:cNvPr id="59" name="Rectangle 16">
            <a:extLst>
              <a:ext uri="{FF2B5EF4-FFF2-40B4-BE49-F238E27FC236}">
                <a16:creationId xmlns:a16="http://schemas.microsoft.com/office/drawing/2014/main" id="{D672E0E5-A71B-0B45-0ABC-9CB99956DF27}"/>
              </a:ext>
            </a:extLst>
          </p:cNvPr>
          <p:cNvSpPr/>
          <p:nvPr/>
        </p:nvSpPr>
        <p:spPr>
          <a:xfrm>
            <a:off x="8878946" y="2635100"/>
            <a:ext cx="358223" cy="114688"/>
          </a:xfrm>
          <a:prstGeom prst="rect">
            <a:avLst/>
          </a:prstGeom>
          <a:solidFill>
            <a:srgbClr val="00586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C86ABB32-612E-2741-3F67-26CE2B0B4E59}"/>
              </a:ext>
            </a:extLst>
          </p:cNvPr>
          <p:cNvSpPr/>
          <p:nvPr/>
        </p:nvSpPr>
        <p:spPr>
          <a:xfrm>
            <a:off x="8878946" y="2889590"/>
            <a:ext cx="358223" cy="114688"/>
          </a:xfrm>
          <a:prstGeom prst="rect">
            <a:avLst/>
          </a:prstGeom>
          <a:solidFill>
            <a:srgbClr val="00829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18">
            <a:extLst>
              <a:ext uri="{FF2B5EF4-FFF2-40B4-BE49-F238E27FC236}">
                <a16:creationId xmlns:a16="http://schemas.microsoft.com/office/drawing/2014/main" id="{BC0E21B5-181F-1FB3-3E46-9AAB6560D15D}"/>
              </a:ext>
            </a:extLst>
          </p:cNvPr>
          <p:cNvSpPr/>
          <p:nvPr/>
        </p:nvSpPr>
        <p:spPr>
          <a:xfrm>
            <a:off x="8878946" y="3144080"/>
            <a:ext cx="358223" cy="114688"/>
          </a:xfrm>
          <a:prstGeom prst="rect">
            <a:avLst/>
          </a:prstGeom>
          <a:solidFill>
            <a:srgbClr val="549E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22">
            <a:extLst>
              <a:ext uri="{FF2B5EF4-FFF2-40B4-BE49-F238E27FC236}">
                <a16:creationId xmlns:a16="http://schemas.microsoft.com/office/drawing/2014/main" id="{30680125-DF27-B102-2EF6-D947EA39DAA0}"/>
              </a:ext>
            </a:extLst>
          </p:cNvPr>
          <p:cNvSpPr/>
          <p:nvPr/>
        </p:nvSpPr>
        <p:spPr>
          <a:xfrm>
            <a:off x="8878946" y="3398570"/>
            <a:ext cx="358223" cy="11468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23">
            <a:extLst>
              <a:ext uri="{FF2B5EF4-FFF2-40B4-BE49-F238E27FC236}">
                <a16:creationId xmlns:a16="http://schemas.microsoft.com/office/drawing/2014/main" id="{DB6A387E-52B2-6D5E-1740-42603143BCD9}"/>
              </a:ext>
            </a:extLst>
          </p:cNvPr>
          <p:cNvSpPr/>
          <p:nvPr/>
        </p:nvSpPr>
        <p:spPr>
          <a:xfrm>
            <a:off x="8878946" y="3653060"/>
            <a:ext cx="358223" cy="114688"/>
          </a:xfrm>
          <a:prstGeom prst="rect">
            <a:avLst/>
          </a:prstGeom>
          <a:solidFill>
            <a:srgbClr val="26A6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24">
            <a:extLst>
              <a:ext uri="{FF2B5EF4-FFF2-40B4-BE49-F238E27FC236}">
                <a16:creationId xmlns:a16="http://schemas.microsoft.com/office/drawing/2014/main" id="{5F84818B-700B-9ED7-C604-53A7C2BBC2C5}"/>
              </a:ext>
            </a:extLst>
          </p:cNvPr>
          <p:cNvSpPr/>
          <p:nvPr/>
        </p:nvSpPr>
        <p:spPr>
          <a:xfrm>
            <a:off x="8878946" y="3907550"/>
            <a:ext cx="358223" cy="114688"/>
          </a:xfrm>
          <a:prstGeom prst="rect">
            <a:avLst/>
          </a:prstGeom>
          <a:solidFill>
            <a:srgbClr val="82C6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25">
            <a:extLst>
              <a:ext uri="{FF2B5EF4-FFF2-40B4-BE49-F238E27FC236}">
                <a16:creationId xmlns:a16="http://schemas.microsoft.com/office/drawing/2014/main" id="{2DFCFBF2-A4AD-1E7B-352E-22BD0854EBB5}"/>
              </a:ext>
            </a:extLst>
          </p:cNvPr>
          <p:cNvSpPr/>
          <p:nvPr/>
        </p:nvSpPr>
        <p:spPr>
          <a:xfrm>
            <a:off x="8878946" y="4162040"/>
            <a:ext cx="358223" cy="114688"/>
          </a:xfrm>
          <a:prstGeom prst="rect">
            <a:avLst/>
          </a:prstGeom>
          <a:solidFill>
            <a:srgbClr val="BFE1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26">
            <a:extLst>
              <a:ext uri="{FF2B5EF4-FFF2-40B4-BE49-F238E27FC236}">
                <a16:creationId xmlns:a16="http://schemas.microsoft.com/office/drawing/2014/main" id="{48D68DFD-FE88-D8B0-09C3-44089B7E1EC2}"/>
              </a:ext>
            </a:extLst>
          </p:cNvPr>
          <p:cNvSpPr/>
          <p:nvPr/>
        </p:nvSpPr>
        <p:spPr>
          <a:xfrm>
            <a:off x="8878946" y="4416530"/>
            <a:ext cx="358223" cy="114688"/>
          </a:xfrm>
          <a:prstGeom prst="rect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27">
            <a:extLst>
              <a:ext uri="{FF2B5EF4-FFF2-40B4-BE49-F238E27FC236}">
                <a16:creationId xmlns:a16="http://schemas.microsoft.com/office/drawing/2014/main" id="{A270FF40-B9D3-6961-65A1-2DB2E5B0B09C}"/>
              </a:ext>
            </a:extLst>
          </p:cNvPr>
          <p:cNvSpPr/>
          <p:nvPr/>
        </p:nvSpPr>
        <p:spPr>
          <a:xfrm>
            <a:off x="8878946" y="4671020"/>
            <a:ext cx="358223" cy="114688"/>
          </a:xfrm>
          <a:prstGeom prst="rect">
            <a:avLst/>
          </a:prstGeom>
          <a:solidFill>
            <a:srgbClr val="8FAAD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16">
            <a:extLst>
              <a:ext uri="{FF2B5EF4-FFF2-40B4-BE49-F238E27FC236}">
                <a16:creationId xmlns:a16="http://schemas.microsoft.com/office/drawing/2014/main" id="{0B49B8DA-9CF6-87ED-5920-F4C8246F4D34}"/>
              </a:ext>
            </a:extLst>
          </p:cNvPr>
          <p:cNvSpPr/>
          <p:nvPr/>
        </p:nvSpPr>
        <p:spPr>
          <a:xfrm>
            <a:off x="8878946" y="2145370"/>
            <a:ext cx="358223" cy="1146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16">
            <a:extLst>
              <a:ext uri="{FF2B5EF4-FFF2-40B4-BE49-F238E27FC236}">
                <a16:creationId xmlns:a16="http://schemas.microsoft.com/office/drawing/2014/main" id="{DFB1CF14-973F-AA88-A001-9848D9B85AC0}"/>
              </a:ext>
            </a:extLst>
          </p:cNvPr>
          <p:cNvSpPr/>
          <p:nvPr/>
        </p:nvSpPr>
        <p:spPr>
          <a:xfrm>
            <a:off x="8878946" y="4925510"/>
            <a:ext cx="358223" cy="11468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1FF01BD-971F-286C-5861-902EE7FAEDC4}"/>
              </a:ext>
            </a:extLst>
          </p:cNvPr>
          <p:cNvSpPr txBox="1"/>
          <p:nvPr/>
        </p:nvSpPr>
        <p:spPr>
          <a:xfrm>
            <a:off x="9237169" y="2561639"/>
            <a:ext cx="173289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Казатомпром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+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3,5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E491952-3AB3-9FD7-8951-12CA28B6EECB}"/>
              </a:ext>
            </a:extLst>
          </p:cNvPr>
          <p:cNvSpPr txBox="1"/>
          <p:nvPr/>
        </p:nvSpPr>
        <p:spPr>
          <a:xfrm>
            <a:off x="9240534" y="281612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aspi.kz (-1,1%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11246D2-B9FB-E296-C745-D62CE3937417}"/>
              </a:ext>
            </a:extLst>
          </p:cNvPr>
          <p:cNvSpPr txBox="1"/>
          <p:nvPr/>
        </p:nvSpPr>
        <p:spPr>
          <a:xfrm>
            <a:off x="9240534" y="307061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Halyk Bank (+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0,1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%)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D992785-773D-1CE8-A2A5-1ADF5DB96E8C}"/>
              </a:ext>
            </a:extLst>
          </p:cNvPr>
          <p:cNvSpPr txBox="1"/>
          <p:nvPr/>
        </p:nvSpPr>
        <p:spPr>
          <a:xfrm>
            <a:off x="9240534" y="332510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Solidcor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-12,3%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E991646E-A8F2-59D5-A098-AA2EBC1F6A59}"/>
              </a:ext>
            </a:extLst>
          </p:cNvPr>
          <p:cNvSpPr txBox="1"/>
          <p:nvPr/>
        </p:nvSpPr>
        <p:spPr>
          <a:xfrm>
            <a:off x="9240534" y="357959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cel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-1,1%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3792330-F348-7BFC-E257-347E012AB71E}"/>
              </a:ext>
            </a:extLst>
          </p:cNvPr>
          <p:cNvSpPr txBox="1"/>
          <p:nvPr/>
        </p:nvSpPr>
        <p:spPr>
          <a:xfrm>
            <a:off x="9240534" y="383408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ru-RU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Казахтелеком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 (+12,5%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FDB3971-EECF-EA98-6396-E3A8AE79946B}"/>
              </a:ext>
            </a:extLst>
          </p:cNvPr>
          <p:cNvSpPr txBox="1"/>
          <p:nvPr/>
        </p:nvSpPr>
        <p:spPr>
          <a:xfrm>
            <a:off x="9240534" y="4088579"/>
            <a:ext cx="191781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KEGOC (+2,7%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CC7486A-E0A5-C7A5-E0C4-40F296DB64BC}"/>
              </a:ext>
            </a:extLst>
          </p:cNvPr>
          <p:cNvSpPr txBox="1"/>
          <p:nvPr/>
        </p:nvSpPr>
        <p:spPr>
          <a:xfrm>
            <a:off x="9240534" y="434306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Банк ЦентрКредит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(+10,8%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85F64B6-53E9-3805-3600-E5B96754C9E7}"/>
              </a:ext>
            </a:extLst>
          </p:cNvPr>
          <p:cNvSpPr txBox="1"/>
          <p:nvPr/>
        </p:nvSpPr>
        <p:spPr>
          <a:xfrm>
            <a:off x="9240534" y="459755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Air Astana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(+3,3%)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E9D785D1-8548-60B6-6B2F-3479E1AC5FE5}"/>
              </a:ext>
            </a:extLst>
          </p:cNvPr>
          <p:cNvSpPr txBox="1"/>
          <p:nvPr/>
        </p:nvSpPr>
        <p:spPr>
          <a:xfrm>
            <a:off x="9240534" y="4852049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>
                <a:latin typeface="Montserrat" panose="00000500000000000000" pitchFamily="2" charset="-52"/>
                <a:cs typeface="Mongolian Baiti" panose="03000500000000000000" pitchFamily="66" charset="0"/>
              </a:rPr>
              <a:t>КазТрансОйл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+0,3%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Rectangle 16">
            <a:extLst>
              <a:ext uri="{FF2B5EF4-FFF2-40B4-BE49-F238E27FC236}">
                <a16:creationId xmlns:a16="http://schemas.microsoft.com/office/drawing/2014/main" id="{2A9977AF-87C0-5A9B-E255-CB6D0157D794}"/>
              </a:ext>
            </a:extLst>
          </p:cNvPr>
          <p:cNvSpPr/>
          <p:nvPr/>
        </p:nvSpPr>
        <p:spPr>
          <a:xfrm>
            <a:off x="8878946" y="5179996"/>
            <a:ext cx="358223" cy="1146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524FFA5-1F53-CE72-26C8-AFB0266FA1A9}"/>
              </a:ext>
            </a:extLst>
          </p:cNvPr>
          <p:cNvSpPr txBox="1"/>
          <p:nvPr/>
        </p:nvSpPr>
        <p:spPr>
          <a:xfrm>
            <a:off x="9240534" y="5106535"/>
            <a:ext cx="220159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Central Asia Metals (-</a:t>
            </a:r>
            <a:r>
              <a:rPr lang="en-US" sz="1100" dirty="0">
                <a:solidFill>
                  <a:prstClr val="black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8,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7%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Rectangle 16">
            <a:extLst>
              <a:ext uri="{FF2B5EF4-FFF2-40B4-BE49-F238E27FC236}">
                <a16:creationId xmlns:a16="http://schemas.microsoft.com/office/drawing/2014/main" id="{3D790075-D7E2-F04C-AB67-AC12207C77AB}"/>
              </a:ext>
            </a:extLst>
          </p:cNvPr>
          <p:cNvSpPr/>
          <p:nvPr/>
        </p:nvSpPr>
        <p:spPr>
          <a:xfrm>
            <a:off x="8878946" y="2390235"/>
            <a:ext cx="358223" cy="114688"/>
          </a:xfrm>
          <a:prstGeom prst="rect">
            <a:avLst/>
          </a:prstGeom>
          <a:solidFill>
            <a:srgbClr val="0024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47A7E164-AAB3-D1C0-172E-E6484AD7CC4B}"/>
              </a:ext>
            </a:extLst>
          </p:cNvPr>
          <p:cNvSpPr txBox="1"/>
          <p:nvPr/>
        </p:nvSpPr>
        <p:spPr>
          <a:xfrm>
            <a:off x="9237169" y="2307149"/>
            <a:ext cx="173289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КазМунайГаз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 (+2,5%)</a:t>
            </a:r>
          </a:p>
        </p:txBody>
      </p:sp>
      <p:graphicFrame>
        <p:nvGraphicFramePr>
          <p:cNvPr id="113" name="Chart 14">
            <a:extLst>
              <a:ext uri="{FF2B5EF4-FFF2-40B4-BE49-F238E27FC236}">
                <a16:creationId xmlns:a16="http://schemas.microsoft.com/office/drawing/2014/main" id="{EF8A7F65-32C1-6D83-076B-85EABF1FF9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485472"/>
              </p:ext>
            </p:extLst>
          </p:nvPr>
        </p:nvGraphicFramePr>
        <p:xfrm>
          <a:off x="5458058" y="2301161"/>
          <a:ext cx="4160901" cy="2797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4" name="TextBox 113">
            <a:extLst>
              <a:ext uri="{FF2B5EF4-FFF2-40B4-BE49-F238E27FC236}">
                <a16:creationId xmlns:a16="http://schemas.microsoft.com/office/drawing/2014/main" id="{94A33B26-7243-4A11-091F-CD34CBE69720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ru-RU" sz="1200" dirty="0">
                <a:latin typeface="Montserrat"/>
                <a:cs typeface="Mongolian Baiti"/>
              </a:rPr>
              <a:t>Запущенный в 2021 г. AIX </a:t>
            </a:r>
            <a:r>
              <a:rPr lang="ru-RU" sz="1200" dirty="0" err="1">
                <a:latin typeface="Montserrat"/>
                <a:cs typeface="Mongolian Baiti"/>
              </a:rPr>
              <a:t>Qazaq</a:t>
            </a:r>
            <a:r>
              <a:rPr lang="en-US" sz="1200" dirty="0">
                <a:latin typeface="Montserrat"/>
                <a:cs typeface="Mongolian Baiti"/>
              </a:rPr>
              <a:t> Index</a:t>
            </a:r>
            <a:r>
              <a:rPr lang="ru-RU" sz="1200" dirty="0">
                <a:latin typeface="Montserrat"/>
                <a:cs typeface="Mongolian Baiti"/>
              </a:rPr>
              <a:t> (индекс </a:t>
            </a:r>
            <a:r>
              <a:rPr lang="en-US" sz="1200" dirty="0">
                <a:latin typeface="Montserrat"/>
                <a:cs typeface="Mongolian Baiti"/>
              </a:rPr>
              <a:t>AIXQI</a:t>
            </a:r>
            <a:r>
              <a:rPr lang="ru-RU" sz="1200" dirty="0">
                <a:latin typeface="Montserrat"/>
                <a:cs typeface="Mongolian Baiti"/>
              </a:rPr>
              <a:t>) является взвешенным по рыночной капитализации индексом, который состоит из акций и глобальных депозитарных расписок (GDR) казахстанских и связанных с Казахстаном компаний. Значение индекса AIX</a:t>
            </a:r>
            <a:r>
              <a:rPr lang="en-US" sz="1200" dirty="0">
                <a:latin typeface="Montserrat"/>
                <a:cs typeface="Mongolian Baiti"/>
              </a:rPr>
              <a:t>QI</a:t>
            </a:r>
            <a:r>
              <a:rPr lang="ru-RU" sz="1200" dirty="0">
                <a:latin typeface="Montserrat"/>
                <a:cs typeface="Mongolian Baiti"/>
              </a:rPr>
              <a:t> выросло на 23% с начала года и составило рекордных 1 503 пункта по состоянию на ноябрь 2024 года. </a:t>
            </a:r>
            <a:endParaRPr lang="en-US" sz="1200" dirty="0">
              <a:latin typeface="Montserrat"/>
              <a:cs typeface="Mongolian Baiti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0D7C9B9-CB96-4833-8101-F6F8B65140A4}"/>
              </a:ext>
            </a:extLst>
          </p:cNvPr>
          <p:cNvCxnSpPr>
            <a:cxnSpLocks/>
          </p:cNvCxnSpPr>
          <p:nvPr/>
        </p:nvCxnSpPr>
        <p:spPr>
          <a:xfrm flipV="1">
            <a:off x="2698507" y="3690540"/>
            <a:ext cx="0" cy="11635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9B05D641-2C9F-A2C3-15C7-71F2FBB3DACF}"/>
              </a:ext>
            </a:extLst>
          </p:cNvPr>
          <p:cNvCxnSpPr>
            <a:cxnSpLocks/>
          </p:cNvCxnSpPr>
          <p:nvPr/>
        </p:nvCxnSpPr>
        <p:spPr>
          <a:xfrm flipH="1" flipV="1">
            <a:off x="3801013" y="3992431"/>
            <a:ext cx="7653" cy="87122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9">
            <a:extLst>
              <a:ext uri="{FF2B5EF4-FFF2-40B4-BE49-F238E27FC236}">
                <a16:creationId xmlns:a16="http://schemas.microsoft.com/office/drawing/2014/main" id="{442A5D7C-0BB7-C36F-286D-6182EC1532D7}"/>
              </a:ext>
            </a:extLst>
          </p:cNvPr>
          <p:cNvCxnSpPr>
            <a:cxnSpLocks/>
          </p:cNvCxnSpPr>
          <p:nvPr/>
        </p:nvCxnSpPr>
        <p:spPr>
          <a:xfrm flipH="1" flipV="1">
            <a:off x="4793560" y="3258768"/>
            <a:ext cx="25613" cy="159553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159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5F8467-DF28-9F8E-35DD-67D137F0EF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Chart 24">
            <a:extLst>
              <a:ext uri="{FF2B5EF4-FFF2-40B4-BE49-F238E27FC236}">
                <a16:creationId xmlns:a16="http://schemas.microsoft.com/office/drawing/2014/main" id="{0602B99C-50A7-6701-517E-A70BDD36DE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880943"/>
              </p:ext>
            </p:extLst>
          </p:nvPr>
        </p:nvGraphicFramePr>
        <p:xfrm>
          <a:off x="7231608" y="2260266"/>
          <a:ext cx="4022732" cy="2991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9C5FC9F-D6C9-AA20-87BE-889363D947CC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ОБЩИЙ ОБЗОР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91925A-34D7-E163-369E-DE4B529D8B52}"/>
              </a:ext>
            </a:extLst>
          </p:cNvPr>
          <p:cNvSpPr txBox="1"/>
          <p:nvPr/>
        </p:nvSpPr>
        <p:spPr>
          <a:xfrm>
            <a:off x="1115790" y="2395657"/>
            <a:ext cx="173769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1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1M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 </a:t>
            </a:r>
            <a:b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в ноябре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E6DF63-78A9-34A0-8492-44236B1F9A59}"/>
              </a:ext>
            </a:extLst>
          </p:cNvPr>
          <p:cNvSpPr txBox="1"/>
          <p:nvPr/>
        </p:nvSpPr>
        <p:spPr>
          <a:xfrm>
            <a:off x="1115790" y="3368856"/>
            <a:ext cx="16062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В </a:t>
            </a:r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5,5 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раз</a:t>
            </a:r>
            <a:endParaRPr lang="en-US" sz="1600" b="1" dirty="0">
              <a:solidFill>
                <a:srgbClr val="008EAA"/>
              </a:solidFill>
              <a:latin typeface="Montserrat" panose="00000500000000000000" pitchFamily="2" charset="-52"/>
              <a:cs typeface="Mongolian Baiti" panose="03000500000000000000" pitchFamily="66" charset="0"/>
            </a:endParaRPr>
          </a:p>
          <a:p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Больше чем в ноябре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3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lang="en-US" sz="11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C65A31B-8978-87B3-D627-EB97298F8977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160E79C-05F3-2117-5B57-489C4057103C}"/>
              </a:ext>
            </a:extLst>
          </p:cNvPr>
          <p:cNvSpPr txBox="1"/>
          <p:nvPr/>
        </p:nvSpPr>
        <p:spPr>
          <a:xfrm>
            <a:off x="1115790" y="1749807"/>
            <a:ext cx="326924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 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D446F7C6-0E17-0F30-34F4-F3743A1852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3655003"/>
              </p:ext>
            </p:extLst>
          </p:nvPr>
        </p:nvGraphicFramePr>
        <p:xfrm>
          <a:off x="1797299" y="2179542"/>
          <a:ext cx="4201547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112DD0B-7B8C-60CE-1C86-87B7A886817E}"/>
              </a:ext>
            </a:extLst>
          </p:cNvPr>
          <p:cNvSpPr txBox="1"/>
          <p:nvPr/>
        </p:nvSpPr>
        <p:spPr>
          <a:xfrm>
            <a:off x="2008381" y="4460240"/>
            <a:ext cx="432858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9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EC01A9-B982-EE03-7035-09F79EDE287C}"/>
              </a:ext>
            </a:extLst>
          </p:cNvPr>
          <p:cNvSpPr txBox="1"/>
          <p:nvPr/>
        </p:nvSpPr>
        <p:spPr>
          <a:xfrm>
            <a:off x="2583249" y="4393586"/>
            <a:ext cx="398142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49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21BFED-674E-6FE4-4ABA-32A133ED0F26}"/>
              </a:ext>
            </a:extLst>
          </p:cNvPr>
          <p:cNvSpPr txBox="1"/>
          <p:nvPr/>
        </p:nvSpPr>
        <p:spPr>
          <a:xfrm>
            <a:off x="3093124" y="4352489"/>
            <a:ext cx="50661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59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</a:t>
            </a:r>
            <a:r>
              <a:rPr lang="ru-RU" sz="1050" dirty="0">
                <a:latin typeface="Montserrat" panose="00000500000000000000" pitchFamily="2" charset="-52"/>
              </a:rPr>
              <a:t>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B84EA8-B855-220B-2BA5-6E20C8555659}"/>
              </a:ext>
            </a:extLst>
          </p:cNvPr>
          <p:cNvSpPr txBox="1"/>
          <p:nvPr/>
        </p:nvSpPr>
        <p:spPr>
          <a:xfrm>
            <a:off x="3687826" y="3882290"/>
            <a:ext cx="424280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11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3EAD57-DE5A-0703-E4CD-BAC797260763}"/>
              </a:ext>
            </a:extLst>
          </p:cNvPr>
          <p:cNvSpPr txBox="1"/>
          <p:nvPr/>
        </p:nvSpPr>
        <p:spPr>
          <a:xfrm>
            <a:off x="4207181" y="4139548"/>
            <a:ext cx="50661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73</a:t>
            </a:r>
            <a:r>
              <a:rPr kumimoji="0" lang="ru-RU" sz="105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н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835E1C-152A-FCA4-3271-106825AA401F}"/>
              </a:ext>
            </a:extLst>
          </p:cNvPr>
          <p:cNvSpPr txBox="1"/>
          <p:nvPr/>
        </p:nvSpPr>
        <p:spPr>
          <a:xfrm>
            <a:off x="4754122" y="3351099"/>
            <a:ext cx="524574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582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CD317DC-3198-910C-FB39-B93825C6D85C}"/>
              </a:ext>
            </a:extLst>
          </p:cNvPr>
          <p:cNvSpPr txBox="1"/>
          <p:nvPr/>
        </p:nvSpPr>
        <p:spPr>
          <a:xfrm>
            <a:off x="927042" y="5492494"/>
            <a:ext cx="49381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Совокупный объем торгов - это сумма всех акций, торгуемых на фондовой бирже. Как правило, высокий уровень объема торгов указывает на высокую ликвидность, что облегчает инвесторам покупку или продажу акций.</a:t>
            </a:r>
            <a:endParaRPr lang="en-US" sz="11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7D5E6D4-BFD4-AF58-0351-F6F523258D8D}"/>
              </a:ext>
            </a:extLst>
          </p:cNvPr>
          <p:cNvSpPr txBox="1"/>
          <p:nvPr/>
        </p:nvSpPr>
        <p:spPr>
          <a:xfrm>
            <a:off x="884760" y="894639"/>
            <a:ext cx="10432997" cy="646331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ru-RU" sz="1200" dirty="0">
                <a:latin typeface="Montserrat"/>
                <a:cs typeface="Mongolian Baiti"/>
              </a:rPr>
              <a:t>С начала года биржа продемонстрировала значительный рост объема торгов, достигнув рекордного с начала года оборота в $</a:t>
            </a:r>
            <a:r>
              <a:rPr lang="en-US" sz="1200" dirty="0">
                <a:latin typeface="Montserrat"/>
                <a:cs typeface="Mongolian Baiti"/>
              </a:rPr>
              <a:t>1,2</a:t>
            </a:r>
            <a:r>
              <a:rPr lang="ru-RU" sz="1200" dirty="0">
                <a:latin typeface="Montserrat"/>
                <a:cs typeface="Mongolian Baiti"/>
              </a:rPr>
              <a:t> млрд. В целом, с момента запуска AIX торговый оборот составил около $2,</a:t>
            </a:r>
            <a:r>
              <a:rPr lang="en-US" sz="1200" dirty="0">
                <a:latin typeface="Montserrat"/>
                <a:cs typeface="Mongolian Baiti"/>
              </a:rPr>
              <a:t>4</a:t>
            </a:r>
            <a:r>
              <a:rPr lang="ru-RU" sz="1200" dirty="0">
                <a:latin typeface="Montserrat"/>
                <a:cs typeface="Mongolian Baiti"/>
              </a:rPr>
              <a:t> млрд. После продолжительного периода роста рыночная капитализация немного снизилась до $7</a:t>
            </a:r>
            <a:r>
              <a:rPr lang="en-US" sz="1200" dirty="0">
                <a:latin typeface="Montserrat"/>
                <a:cs typeface="Mongolian Baiti"/>
              </a:rPr>
              <a:t>6</a:t>
            </a:r>
            <a:r>
              <a:rPr lang="ru-RU" sz="1200" dirty="0">
                <a:latin typeface="Montserrat"/>
                <a:cs typeface="Mongolian Baiti"/>
              </a:rPr>
              <a:t> млрд в следствие рыночных колебаний цен на акции.</a:t>
            </a:r>
            <a:endParaRPr lang="en-US" sz="1200" dirty="0">
              <a:latin typeface="Montserrat"/>
              <a:cs typeface="Mongolian Baiti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7B2A1F5-887A-B13F-E658-C7942DBEF935}"/>
              </a:ext>
            </a:extLst>
          </p:cNvPr>
          <p:cNvSpPr txBox="1"/>
          <p:nvPr/>
        </p:nvSpPr>
        <p:spPr>
          <a:xfrm>
            <a:off x="6369081" y="5492494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Рыночная капитализация биржи предоставляет обзор общей стоимости и размера рынка акций, торгуемых на фондовой бирже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4CEFFF0-A673-A98C-E2A2-7D863DE84E70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17FB446-C6E3-CA35-EF37-8EA50823E8FC}"/>
              </a:ext>
            </a:extLst>
          </p:cNvPr>
          <p:cNvSpPr txBox="1"/>
          <p:nvPr/>
        </p:nvSpPr>
        <p:spPr>
          <a:xfrm>
            <a:off x="6521480" y="1751766"/>
            <a:ext cx="326924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РЫНОЧНАЯ КАПИТАЛИЗАЦИЯ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C1D539-6BB9-3BF1-2B91-C6D8C26B8A7F}"/>
              </a:ext>
            </a:extLst>
          </p:cNvPr>
          <p:cNvGrpSpPr/>
          <p:nvPr/>
        </p:nvGrpSpPr>
        <p:grpSpPr>
          <a:xfrm rot="202990">
            <a:off x="8755381" y="2402170"/>
            <a:ext cx="41223" cy="274163"/>
            <a:chOff x="8975611" y="2338405"/>
            <a:chExt cx="41223" cy="27416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6282680-F9F4-32A4-30F8-BC71493B69DD}"/>
                </a:ext>
              </a:extLst>
            </p:cNvPr>
            <p:cNvSpPr/>
            <p:nvPr/>
          </p:nvSpPr>
          <p:spPr>
            <a:xfrm rot="19800000">
              <a:off x="8975611" y="2338405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A6DEECD-2699-709F-648B-CF088D61238D}"/>
                </a:ext>
              </a:extLst>
            </p:cNvPr>
            <p:cNvSpPr/>
            <p:nvPr/>
          </p:nvSpPr>
          <p:spPr>
            <a:xfrm rot="19800000">
              <a:off x="9006034" y="23393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19DF5DF-79B7-37AB-C126-5251B1B1B4EA}"/>
              </a:ext>
            </a:extLst>
          </p:cNvPr>
          <p:cNvGrpSpPr/>
          <p:nvPr/>
        </p:nvGrpSpPr>
        <p:grpSpPr>
          <a:xfrm rot="202990">
            <a:off x="8755381" y="2838030"/>
            <a:ext cx="41224" cy="170585"/>
            <a:chOff x="9128010" y="2491904"/>
            <a:chExt cx="41224" cy="27472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424C1B6-C8F3-A529-4DCD-9666F57ECD08}"/>
                </a:ext>
              </a:extLst>
            </p:cNvPr>
            <p:cNvSpPr/>
            <p:nvPr/>
          </p:nvSpPr>
          <p:spPr>
            <a:xfrm rot="19800000">
              <a:off x="9128010" y="24919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219E5F0-2B43-78AC-49D3-94EBF84FD0DC}"/>
                </a:ext>
              </a:extLst>
            </p:cNvPr>
            <p:cNvSpPr/>
            <p:nvPr/>
          </p:nvSpPr>
          <p:spPr>
            <a:xfrm rot="19800000">
              <a:off x="9158434" y="2493403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A26A47C-857E-2060-051E-F99D31D3AD18}"/>
              </a:ext>
            </a:extLst>
          </p:cNvPr>
          <p:cNvGrpSpPr/>
          <p:nvPr/>
        </p:nvGrpSpPr>
        <p:grpSpPr>
          <a:xfrm rot="202990">
            <a:off x="8755380" y="3170289"/>
            <a:ext cx="41225" cy="274164"/>
            <a:chOff x="9128010" y="2490804"/>
            <a:chExt cx="41225" cy="27416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B7524B4-1C73-228A-A915-B3ACC540D7D3}"/>
                </a:ext>
              </a:extLst>
            </p:cNvPr>
            <p:cNvSpPr/>
            <p:nvPr/>
          </p:nvSpPr>
          <p:spPr>
            <a:xfrm rot="19800000">
              <a:off x="9128010" y="2490804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D409B6F-C6B6-1E67-1FF9-4F20B3D64228}"/>
                </a:ext>
              </a:extLst>
            </p:cNvPr>
            <p:cNvSpPr/>
            <p:nvPr/>
          </p:nvSpPr>
          <p:spPr>
            <a:xfrm rot="19800000">
              <a:off x="9158435" y="2491740"/>
              <a:ext cx="10800" cy="2732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6B3D17CA-F792-DC19-AF9F-1B3065878F5C}"/>
              </a:ext>
            </a:extLst>
          </p:cNvPr>
          <p:cNvSpPr txBox="1"/>
          <p:nvPr/>
        </p:nvSpPr>
        <p:spPr>
          <a:xfrm>
            <a:off x="6521480" y="2590870"/>
            <a:ext cx="15026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2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$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8EAA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6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 млрд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Рыночная капитализация</a:t>
            </a:r>
            <a:endParaRPr lang="en-US" sz="14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0AE4A15-9F57-44AA-899F-EB3CD86D6E59}"/>
              </a:ext>
            </a:extLst>
          </p:cNvPr>
          <p:cNvSpPr txBox="1"/>
          <p:nvPr/>
        </p:nvSpPr>
        <p:spPr>
          <a:xfrm>
            <a:off x="7796364" y="4066907"/>
            <a:ext cx="610584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14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</a:t>
            </a:r>
            <a:r>
              <a:rPr kumimoji="0" lang="ru-RU" sz="9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331076-3D9C-589E-9C92-D37CFBF5E86F}"/>
              </a:ext>
            </a:extLst>
          </p:cNvPr>
          <p:cNvSpPr txBox="1"/>
          <p:nvPr/>
        </p:nvSpPr>
        <p:spPr>
          <a:xfrm>
            <a:off x="8382553" y="3502325"/>
            <a:ext cx="575835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2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9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1A5032B-A80E-2652-04BE-A7D3E6D4EC3C}"/>
              </a:ext>
            </a:extLst>
          </p:cNvPr>
          <p:cNvSpPr txBox="1"/>
          <p:nvPr/>
        </p:nvSpPr>
        <p:spPr>
          <a:xfrm>
            <a:off x="10154230" y="2662443"/>
            <a:ext cx="544005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62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6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3DA79C4-C5AA-CB8D-3B59-D6CA95CA6679}"/>
              </a:ext>
            </a:extLst>
          </p:cNvPr>
          <p:cNvSpPr txBox="1"/>
          <p:nvPr/>
        </p:nvSpPr>
        <p:spPr>
          <a:xfrm>
            <a:off x="9135843" y="3298756"/>
            <a:ext cx="502250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40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5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268E12B-EE54-CB5F-0393-744D19CE183A}"/>
              </a:ext>
            </a:extLst>
          </p:cNvPr>
          <p:cNvSpPr txBox="1"/>
          <p:nvPr/>
        </p:nvSpPr>
        <p:spPr>
          <a:xfrm>
            <a:off x="9666514" y="3291553"/>
            <a:ext cx="549771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8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3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E455E28-7A5A-4B1D-C904-28566AA84EE5}"/>
              </a:ext>
            </a:extLst>
          </p:cNvPr>
          <p:cNvSpPr txBox="1"/>
          <p:nvPr/>
        </p:nvSpPr>
        <p:spPr>
          <a:xfrm>
            <a:off x="7213518" y="4401995"/>
            <a:ext cx="536120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3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,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4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6E9DA9A-37A9-3B40-F43F-1AE01A891458}"/>
              </a:ext>
            </a:extLst>
          </p:cNvPr>
          <p:cNvSpPr txBox="1"/>
          <p:nvPr/>
        </p:nvSpPr>
        <p:spPr>
          <a:xfrm>
            <a:off x="5282855" y="2236387"/>
            <a:ext cx="595657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</a:t>
            </a:r>
            <a:r>
              <a:rPr lang="ru-RU" sz="1050" dirty="0">
                <a:latin typeface="Montserrat" panose="00000500000000000000" pitchFamily="2" charset="-52"/>
              </a:rPr>
              <a:t>1,2 млрд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877ECC2-2520-FEDB-518D-37474CC4E7F2}"/>
              </a:ext>
            </a:extLst>
          </p:cNvPr>
          <p:cNvSpPr txBox="1"/>
          <p:nvPr/>
        </p:nvSpPr>
        <p:spPr>
          <a:xfrm>
            <a:off x="10773752" y="2318360"/>
            <a:ext cx="544005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7</a:t>
            </a:r>
            <a:r>
              <a:rPr lang="en-US" sz="900" dirty="0">
                <a:latin typeface="Montserrat" panose="00000500000000000000" pitchFamily="2" charset="-52"/>
              </a:rPr>
              <a:t>6</a:t>
            </a:r>
            <a:r>
              <a:rPr lang="ru-RU" sz="900" dirty="0">
                <a:latin typeface="Montserrat" panose="00000500000000000000" pitchFamily="2" charset="-52"/>
              </a:rPr>
              <a:t> млрд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38">
            <a:extLst>
              <a:ext uri="{FF2B5EF4-FFF2-40B4-BE49-F238E27FC236}">
                <a16:creationId xmlns:a16="http://schemas.microsoft.com/office/drawing/2014/main" id="{B452BC82-4FC0-63BA-0152-225F46211C19}"/>
              </a:ext>
            </a:extLst>
          </p:cNvPr>
          <p:cNvCxnSpPr>
            <a:cxnSpLocks/>
          </p:cNvCxnSpPr>
          <p:nvPr/>
        </p:nvCxnSpPr>
        <p:spPr>
          <a:xfrm flipV="1">
            <a:off x="10488740" y="3149600"/>
            <a:ext cx="0" cy="17318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38">
            <a:extLst>
              <a:ext uri="{FF2B5EF4-FFF2-40B4-BE49-F238E27FC236}">
                <a16:creationId xmlns:a16="http://schemas.microsoft.com/office/drawing/2014/main" id="{BFEABE92-5C1F-12D3-3C34-904176FCF751}"/>
              </a:ext>
            </a:extLst>
          </p:cNvPr>
          <p:cNvCxnSpPr>
            <a:cxnSpLocks/>
          </p:cNvCxnSpPr>
          <p:nvPr/>
        </p:nvCxnSpPr>
        <p:spPr>
          <a:xfrm flipV="1">
            <a:off x="8061224" y="4508500"/>
            <a:ext cx="0" cy="36536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90B927FB-0A46-C21E-F975-B1BC52596552}"/>
              </a:ext>
            </a:extLst>
          </p:cNvPr>
          <p:cNvCxnSpPr>
            <a:cxnSpLocks/>
          </p:cNvCxnSpPr>
          <p:nvPr/>
        </p:nvCxnSpPr>
        <p:spPr>
          <a:xfrm flipV="1">
            <a:off x="8664824" y="4003046"/>
            <a:ext cx="0" cy="88434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38">
            <a:extLst>
              <a:ext uri="{FF2B5EF4-FFF2-40B4-BE49-F238E27FC236}">
                <a16:creationId xmlns:a16="http://schemas.microsoft.com/office/drawing/2014/main" id="{30905C40-6692-BF7A-7C62-BF5EFF2DA95B}"/>
              </a:ext>
            </a:extLst>
          </p:cNvPr>
          <p:cNvCxnSpPr>
            <a:cxnSpLocks/>
          </p:cNvCxnSpPr>
          <p:nvPr/>
        </p:nvCxnSpPr>
        <p:spPr>
          <a:xfrm flipV="1">
            <a:off x="9253295" y="3788833"/>
            <a:ext cx="0" cy="108971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38">
            <a:extLst>
              <a:ext uri="{FF2B5EF4-FFF2-40B4-BE49-F238E27FC236}">
                <a16:creationId xmlns:a16="http://schemas.microsoft.com/office/drawing/2014/main" id="{9E4F7EB1-B855-AF1E-D979-4B0A24949F66}"/>
              </a:ext>
            </a:extLst>
          </p:cNvPr>
          <p:cNvCxnSpPr>
            <a:cxnSpLocks/>
          </p:cNvCxnSpPr>
          <p:nvPr/>
        </p:nvCxnSpPr>
        <p:spPr>
          <a:xfrm flipV="1">
            <a:off x="7458265" y="4793456"/>
            <a:ext cx="0" cy="7501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38">
            <a:extLst>
              <a:ext uri="{FF2B5EF4-FFF2-40B4-BE49-F238E27FC236}">
                <a16:creationId xmlns:a16="http://schemas.microsoft.com/office/drawing/2014/main" id="{98324BBD-69EB-BB80-EDE1-720BAC08F3E4}"/>
              </a:ext>
            </a:extLst>
          </p:cNvPr>
          <p:cNvCxnSpPr>
            <a:cxnSpLocks/>
          </p:cNvCxnSpPr>
          <p:nvPr/>
        </p:nvCxnSpPr>
        <p:spPr>
          <a:xfrm flipV="1">
            <a:off x="9874938" y="3871949"/>
            <a:ext cx="0" cy="100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38">
            <a:extLst>
              <a:ext uri="{FF2B5EF4-FFF2-40B4-BE49-F238E27FC236}">
                <a16:creationId xmlns:a16="http://schemas.microsoft.com/office/drawing/2014/main" id="{2D722F79-D4AB-88D0-AF05-70F0C7A52981}"/>
              </a:ext>
            </a:extLst>
          </p:cNvPr>
          <p:cNvCxnSpPr>
            <a:cxnSpLocks/>
          </p:cNvCxnSpPr>
          <p:nvPr/>
        </p:nvCxnSpPr>
        <p:spPr>
          <a:xfrm flipV="1">
            <a:off x="11020822" y="2698711"/>
            <a:ext cx="0" cy="216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05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914492">
              <a:spcBef>
                <a:spcPct val="0"/>
              </a:spcBef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ОБЗОР РЫНКА АКЦИЙ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6188D5-0358-8F5C-0CC8-6BBC86EE5255}"/>
              </a:ext>
            </a:extLst>
          </p:cNvPr>
          <p:cNvSpPr/>
          <p:nvPr/>
        </p:nvSpPr>
        <p:spPr>
          <a:xfrm>
            <a:off x="6295038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DC0974C-8A62-8D6F-D2FD-2C64C01FB999}"/>
              </a:ext>
            </a:extLst>
          </p:cNvPr>
          <p:cNvSpPr txBox="1"/>
          <p:nvPr/>
        </p:nvSpPr>
        <p:spPr>
          <a:xfrm>
            <a:off x="6521481" y="1751767"/>
            <a:ext cx="190150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3BA402-D1E9-DC1B-9C0A-43499745901B}"/>
              </a:ext>
            </a:extLst>
          </p:cNvPr>
          <p:cNvSpPr txBox="1"/>
          <p:nvPr/>
        </p:nvSpPr>
        <p:spPr>
          <a:xfrm>
            <a:off x="6369081" y="5405869"/>
            <a:ext cx="4938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акциями - это общее количество акций компании, которые были куплены и проданы на фондовой бирже за определенный период времени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5697E62-4051-88FC-C94D-84493D08BE8E}"/>
              </a:ext>
            </a:extLst>
          </p:cNvPr>
          <p:cNvSpPr txBox="1"/>
          <p:nvPr/>
        </p:nvSpPr>
        <p:spPr>
          <a:xfrm>
            <a:off x="884760" y="894639"/>
            <a:ext cx="10432997" cy="461665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r>
              <a:rPr lang="ru-RU" sz="1200" dirty="0">
                <a:latin typeface="Montserrat"/>
                <a:cs typeface="Mongolian Baiti"/>
              </a:rPr>
              <a:t>В ноябре </a:t>
            </a:r>
            <a:r>
              <a:rPr lang="en-US" sz="1200" dirty="0">
                <a:latin typeface="Montserrat"/>
                <a:cs typeface="Mongolian Baiti"/>
              </a:rPr>
              <a:t>2024</a:t>
            </a:r>
            <a:r>
              <a:rPr lang="ru-RU" sz="1200" dirty="0">
                <a:latin typeface="Montserrat"/>
                <a:cs typeface="Mongolian Baiti"/>
              </a:rPr>
              <a:t> г. зафиксировано два новых листинга акций, в результате чего общее количество новых листингов акций с начала года составило одиннадцать. Объем акций, торгуемых на Бирже МФЦА, составил </a:t>
            </a:r>
            <a:r>
              <a:rPr lang="en-US" sz="1200" dirty="0">
                <a:latin typeface="Montserrat"/>
                <a:cs typeface="Mongolian Baiti"/>
              </a:rPr>
              <a:t>$</a:t>
            </a:r>
            <a:r>
              <a:rPr lang="ru-RU" sz="1200" dirty="0">
                <a:latin typeface="Montserrat"/>
                <a:cs typeface="Mongolian Baiti"/>
              </a:rPr>
              <a:t>9,5</a:t>
            </a:r>
            <a:r>
              <a:rPr lang="en-US" sz="1200" dirty="0">
                <a:latin typeface="Montserrat"/>
                <a:cs typeface="Mongolian Baiti"/>
              </a:rPr>
              <a:t> </a:t>
            </a:r>
            <a:r>
              <a:rPr lang="ru-RU" sz="1200" dirty="0">
                <a:latin typeface="Montserrat"/>
                <a:cs typeface="Mongolian Baiti"/>
              </a:rPr>
              <a:t>млн.</a:t>
            </a:r>
            <a:endParaRPr lang="en-US" sz="1200" dirty="0">
              <a:latin typeface="Montserrat"/>
              <a:cs typeface="Mongolian Baiti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EF8A265-7911-B274-2E61-42A4C8C332CC}"/>
              </a:ext>
            </a:extLst>
          </p:cNvPr>
          <p:cNvSpPr txBox="1"/>
          <p:nvPr/>
        </p:nvSpPr>
        <p:spPr>
          <a:xfrm>
            <a:off x="6521481" y="2285266"/>
            <a:ext cx="165270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$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9,5 млн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ъем торгов акциями в ноябре </a:t>
            </a:r>
            <a:r>
              <a:rPr lang="en-US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2024</a:t>
            </a: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 г.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BA702ED6-5EC1-1D8B-8587-A5C8A893CC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0077446"/>
              </p:ext>
            </p:extLst>
          </p:nvPr>
        </p:nvGraphicFramePr>
        <p:xfrm>
          <a:off x="7278255" y="2204065"/>
          <a:ext cx="4082229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BD5CC2B5-7AC2-AC81-7D04-76E8DBC10147}"/>
              </a:ext>
            </a:extLst>
          </p:cNvPr>
          <p:cNvSpPr txBox="1"/>
          <p:nvPr/>
        </p:nvSpPr>
        <p:spPr>
          <a:xfrm>
            <a:off x="1115791" y="2395657"/>
            <a:ext cx="128624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2</a:t>
            </a:r>
            <a:r>
              <a:rPr lang="ru-RU" sz="1600" b="1" dirty="0">
                <a:solidFill>
                  <a:srgbClr val="008EAA"/>
                </a:solidFill>
                <a:latin typeface="Montserrat" panose="00000500000000000000" pitchFamily="2" charset="-52"/>
                <a:cs typeface="Mongolian Baiti" panose="03000500000000000000" pitchFamily="66" charset="0"/>
              </a:rPr>
              <a:t>7</a:t>
            </a:r>
            <a:br>
              <a:rPr lang="en-US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</a:br>
            <a:r>
              <a:rPr lang="ru-RU" sz="1200" dirty="0">
                <a:latin typeface="Montserrat" panose="00000500000000000000" pitchFamily="2" charset="-52"/>
                <a:cs typeface="Mongolian Baiti" panose="03000500000000000000" pitchFamily="66" charset="0"/>
              </a:rPr>
              <a:t>Общее количество листингов </a:t>
            </a:r>
            <a:endParaRPr lang="en-US" sz="12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6036D69-D21B-5898-62D8-EB468456D458}"/>
              </a:ext>
            </a:extLst>
          </p:cNvPr>
          <p:cNvSpPr txBox="1"/>
          <p:nvPr/>
        </p:nvSpPr>
        <p:spPr>
          <a:xfrm>
            <a:off x="927042" y="5395050"/>
            <a:ext cx="493815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>
                <a:latin typeface="Montserrat" panose="00000500000000000000" pitchFamily="2" charset="-52"/>
                <a:cs typeface="Mongolian Baiti" panose="03000500000000000000" pitchFamily="66" charset="0"/>
              </a:rPr>
              <a:t>Увеличение числа размещенных на бирже компаний (эмитентов) и листингов, как правило, повышает ликвидность рынка, что позволяет инвесторам покупать и продавать акции без существенной потери стоимости.</a:t>
            </a:r>
            <a:endParaRPr lang="en-US" sz="12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D8C93F-7915-CB66-59DC-320FDCF4916E}"/>
              </a:ext>
            </a:extLst>
          </p:cNvPr>
          <p:cNvSpPr/>
          <p:nvPr/>
        </p:nvSpPr>
        <p:spPr>
          <a:xfrm>
            <a:off x="884761" y="1896288"/>
            <a:ext cx="5022720" cy="34369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264006-BF30-65F9-50F9-D55C4425C5DC}"/>
              </a:ext>
            </a:extLst>
          </p:cNvPr>
          <p:cNvSpPr txBox="1"/>
          <p:nvPr/>
        </p:nvSpPr>
        <p:spPr>
          <a:xfrm>
            <a:off x="1115791" y="1749808"/>
            <a:ext cx="282483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ЛИСТИНГИ И ЭМИТЕНТЫ </a:t>
            </a:r>
            <a:endParaRPr lang="en-US" sz="1400" b="1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C9981C9-E243-7855-8AD5-C5399E3F75DA}"/>
              </a:ext>
            </a:extLst>
          </p:cNvPr>
          <p:cNvGrpSpPr/>
          <p:nvPr/>
        </p:nvGrpSpPr>
        <p:grpSpPr>
          <a:xfrm>
            <a:off x="2145724" y="4941904"/>
            <a:ext cx="1265086" cy="276999"/>
            <a:chOff x="6470624" y="5013777"/>
            <a:chExt cx="1265086" cy="27699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4541DAA-C44D-3E77-7585-0263752B227F}"/>
                </a:ext>
              </a:extLst>
            </p:cNvPr>
            <p:cNvSpPr txBox="1"/>
            <p:nvPr/>
          </p:nvSpPr>
          <p:spPr>
            <a:xfrm>
              <a:off x="6726936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>
                  <a:latin typeface="Montserrat" panose="00000500000000000000" pitchFamily="2" charset="-52"/>
                  <a:cs typeface="Mongolian Baiti" panose="03000500000000000000" pitchFamily="66" charset="0"/>
                </a:rPr>
                <a:t>Листинги</a:t>
              </a:r>
              <a:endParaRPr lang="en-US" sz="12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7D73756-21DA-0B5E-D6CC-79779412ED5C}"/>
                </a:ext>
              </a:extLst>
            </p:cNvPr>
            <p:cNvSpPr/>
            <p:nvPr/>
          </p:nvSpPr>
          <p:spPr>
            <a:xfrm>
              <a:off x="6470624" y="5106370"/>
              <a:ext cx="305177" cy="94784"/>
            </a:xfrm>
            <a:prstGeom prst="rect">
              <a:avLst/>
            </a:prstGeom>
            <a:solidFill>
              <a:srgbClr val="008EAA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4920623-BECF-E596-9BC7-B073EF9E7624}"/>
              </a:ext>
            </a:extLst>
          </p:cNvPr>
          <p:cNvGrpSpPr/>
          <p:nvPr/>
        </p:nvGrpSpPr>
        <p:grpSpPr>
          <a:xfrm>
            <a:off x="3373180" y="4941904"/>
            <a:ext cx="1283130" cy="276999"/>
            <a:chOff x="7697681" y="5013777"/>
            <a:chExt cx="1283130" cy="27699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ADC2914-EC8D-A8F7-D19D-75B6976CAC36}"/>
                </a:ext>
              </a:extLst>
            </p:cNvPr>
            <p:cNvSpPr/>
            <p:nvPr/>
          </p:nvSpPr>
          <p:spPr>
            <a:xfrm>
              <a:off x="7697681" y="5104885"/>
              <a:ext cx="305177" cy="94784"/>
            </a:xfrm>
            <a:prstGeom prst="rect">
              <a:avLst/>
            </a:prstGeom>
            <a:solidFill>
              <a:srgbClr val="0024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A473FB3-CD7E-B5D4-DAE7-66A8906430AF}"/>
                </a:ext>
              </a:extLst>
            </p:cNvPr>
            <p:cNvSpPr txBox="1"/>
            <p:nvPr/>
          </p:nvSpPr>
          <p:spPr>
            <a:xfrm>
              <a:off x="7972037" y="5013777"/>
              <a:ext cx="100877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" panose="00000500000000000000" pitchFamily="2" charset="-52"/>
                  <a:ea typeface="+mn-ea"/>
                  <a:cs typeface="Mongolian Baiti" panose="03000500000000000000" pitchFamily="66" charset="0"/>
                </a:rPr>
                <a:t>Эмитенты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C115F45-D6F9-99F0-F363-E7BDC2C1668C}"/>
              </a:ext>
            </a:extLst>
          </p:cNvPr>
          <p:cNvSpPr txBox="1"/>
          <p:nvPr/>
        </p:nvSpPr>
        <p:spPr>
          <a:xfrm>
            <a:off x="4898229" y="4829222"/>
            <a:ext cx="11948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Mongolian Baiti" panose="03000500000000000000" pitchFamily="66" charset="0"/>
              </a:rPr>
              <a:t>Новые листинги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Mongolian Baiti" panose="03000500000000000000" pitchFamily="66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FECC982-D4BC-F116-903F-2F1EB8AD3F6E}"/>
              </a:ext>
            </a:extLst>
          </p:cNvPr>
          <p:cNvCxnSpPr>
            <a:cxnSpLocks/>
          </p:cNvCxnSpPr>
          <p:nvPr/>
        </p:nvCxnSpPr>
        <p:spPr>
          <a:xfrm>
            <a:off x="4618680" y="5060055"/>
            <a:ext cx="269082" cy="0"/>
          </a:xfrm>
          <a:prstGeom prst="line">
            <a:avLst/>
          </a:prstGeom>
          <a:ln w="19050">
            <a:solidFill>
              <a:srgbClr val="B4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D842D2A9-4BF3-4D36-17AC-BFBC0BD94545}"/>
              </a:ext>
            </a:extLst>
          </p:cNvPr>
          <p:cNvSpPr/>
          <p:nvPr/>
        </p:nvSpPr>
        <p:spPr>
          <a:xfrm>
            <a:off x="4706221" y="5018734"/>
            <a:ext cx="85726" cy="82640"/>
          </a:xfrm>
          <a:prstGeom prst="ellipse">
            <a:avLst/>
          </a:prstGeom>
          <a:solidFill>
            <a:srgbClr val="B4C7E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DC921E-7651-85A7-ACCE-1013554AA275}"/>
              </a:ext>
            </a:extLst>
          </p:cNvPr>
          <p:cNvSpPr txBox="1"/>
          <p:nvPr/>
        </p:nvSpPr>
        <p:spPr>
          <a:xfrm>
            <a:off x="10670156" y="2363758"/>
            <a:ext cx="554891" cy="415498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$</a:t>
            </a:r>
            <a:r>
              <a:rPr lang="ru-RU" sz="1050" dirty="0">
                <a:latin typeface="Montserrat" panose="00000500000000000000" pitchFamily="2" charset="-52"/>
              </a:rPr>
              <a:t>48</a:t>
            </a:r>
            <a:r>
              <a:rPr kumimoji="0" lang="ru-RU" sz="105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anose="00000500000000000000" pitchFamily="2" charset="-52"/>
                <a:ea typeface="+mn-ea"/>
                <a:cs typeface="+mn-cs"/>
              </a:rPr>
              <a:t>8</a:t>
            </a:r>
            <a:r>
              <a:rPr lang="ru-RU" sz="1050" dirty="0">
                <a:latin typeface="Montserrat" panose="00000500000000000000" pitchFamily="2" charset="-52"/>
              </a:rPr>
              <a:t> 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6236F5-7F09-1A5B-F594-337A4613C3F0}"/>
              </a:ext>
            </a:extLst>
          </p:cNvPr>
          <p:cNvSpPr txBox="1"/>
          <p:nvPr/>
        </p:nvSpPr>
        <p:spPr>
          <a:xfrm>
            <a:off x="7334718" y="4421025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en-US" sz="1050" dirty="0">
                <a:latin typeface="Montserrat" panose="00000500000000000000" pitchFamily="2" charset="-52"/>
              </a:rPr>
              <a:t>$9</a:t>
            </a:r>
            <a:endParaRPr lang="ru-RU" sz="1050" dirty="0">
              <a:latin typeface="Montserrat" panose="00000500000000000000" pitchFamily="2" charset="-52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lang="ru-RU" sz="1050" dirty="0">
                <a:latin typeface="Montserrat" panose="00000500000000000000" pitchFamily="2" charset="-52"/>
              </a:rPr>
              <a:t>млн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ontserrat" panose="00000500000000000000" pitchFamily="2" charset="-52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1E9373-97B6-3891-1208-041BD7411038}"/>
              </a:ext>
            </a:extLst>
          </p:cNvPr>
          <p:cNvSpPr txBox="1"/>
          <p:nvPr/>
        </p:nvSpPr>
        <p:spPr>
          <a:xfrm>
            <a:off x="7889512" y="4244669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48</a:t>
            </a:r>
            <a:r>
              <a:rPr lang="ru-RU" sz="1050" dirty="0"/>
              <a:t> 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40FC35-7537-C90D-C0D6-C521A603A37E}"/>
              </a:ext>
            </a:extLst>
          </p:cNvPr>
          <p:cNvSpPr txBox="1"/>
          <p:nvPr/>
        </p:nvSpPr>
        <p:spPr>
          <a:xfrm>
            <a:off x="8432609" y="4324729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34</a:t>
            </a:r>
            <a:r>
              <a:rPr lang="ru-RU" sz="1050" dirty="0"/>
              <a:t> 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6048335-57D5-C7F0-CF8E-62463E71FFF9}"/>
              </a:ext>
            </a:extLst>
          </p:cNvPr>
          <p:cNvSpPr txBox="1"/>
          <p:nvPr/>
        </p:nvSpPr>
        <p:spPr>
          <a:xfrm>
            <a:off x="8975706" y="4062080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94</a:t>
            </a:r>
            <a:r>
              <a:rPr lang="ru-RU" sz="1050" dirty="0"/>
              <a:t> 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60095B9-C0E5-3C10-2E30-18E3DF0AFAF2}"/>
              </a:ext>
            </a:extLst>
          </p:cNvPr>
          <p:cNvSpPr txBox="1"/>
          <p:nvPr/>
        </p:nvSpPr>
        <p:spPr>
          <a:xfrm>
            <a:off x="9512887" y="4196909"/>
            <a:ext cx="692721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67</a:t>
            </a:r>
            <a:r>
              <a:rPr lang="ru-RU" sz="1050" dirty="0"/>
              <a:t> 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0276EE-0FFE-9C29-C177-1DB5B7C376A3}"/>
              </a:ext>
            </a:extLst>
          </p:cNvPr>
          <p:cNvSpPr txBox="1"/>
          <p:nvPr/>
        </p:nvSpPr>
        <p:spPr>
          <a:xfrm>
            <a:off x="10018906" y="3898794"/>
            <a:ext cx="761993" cy="430887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>
            <a:defPPr>
              <a:defRPr lang="en-US"/>
            </a:defPPr>
            <a:lvl1pPr marR="0" lvl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 sz="1100">
                <a:latin typeface="Montserrat" panose="00000500000000000000" pitchFamily="2" charset="-52"/>
              </a:defRPr>
            </a:lvl1pPr>
          </a:lstStyle>
          <a:p>
            <a:r>
              <a:rPr lang="en-US" sz="1050" dirty="0"/>
              <a:t>$130</a:t>
            </a:r>
            <a:r>
              <a:rPr lang="ru-RU" sz="1050" dirty="0"/>
              <a:t> </a:t>
            </a:r>
          </a:p>
          <a:p>
            <a:r>
              <a:rPr lang="ru-RU" sz="1050" dirty="0"/>
              <a:t>млн</a:t>
            </a:r>
            <a:endParaRPr lang="en-US" sz="1050" dirty="0"/>
          </a:p>
        </p:txBody>
      </p:sp>
      <p:graphicFrame>
        <p:nvGraphicFramePr>
          <p:cNvPr id="40" name="Chart 15">
            <a:extLst>
              <a:ext uri="{FF2B5EF4-FFF2-40B4-BE49-F238E27FC236}">
                <a16:creationId xmlns:a16="http://schemas.microsoft.com/office/drawing/2014/main" id="{75CCC291-0861-2F3A-A8F8-27EBF633A1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6560160"/>
              </p:ext>
            </p:extLst>
          </p:nvPr>
        </p:nvGraphicFramePr>
        <p:xfrm>
          <a:off x="1847273" y="2507687"/>
          <a:ext cx="4014326" cy="2373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2" name="Chart 2">
            <a:extLst>
              <a:ext uri="{FF2B5EF4-FFF2-40B4-BE49-F238E27FC236}">
                <a16:creationId xmlns:a16="http://schemas.microsoft.com/office/drawing/2014/main" id="{80BBF4C8-60AA-4BC8-5F0A-465832365B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8114637"/>
              </p:ext>
            </p:extLst>
          </p:nvPr>
        </p:nvGraphicFramePr>
        <p:xfrm>
          <a:off x="1847273" y="2191842"/>
          <a:ext cx="4014326" cy="658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7871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>
            <a:extLst>
              <a:ext uri="{FF2B5EF4-FFF2-40B4-BE49-F238E27FC236}">
                <a16:creationId xmlns:a16="http://schemas.microsoft.com/office/drawing/2014/main" id="{D07B56E4-F709-0008-FC02-BEAA726FDF58}"/>
              </a:ext>
            </a:extLst>
          </p:cNvPr>
          <p:cNvGrpSpPr/>
          <p:nvPr/>
        </p:nvGrpSpPr>
        <p:grpSpPr>
          <a:xfrm>
            <a:off x="5957690" y="4330009"/>
            <a:ext cx="1531706" cy="1526898"/>
            <a:chOff x="3681231" y="4392230"/>
            <a:chExt cx="1531706" cy="152689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48D97E4-FB6F-E7CB-A0AE-D0D5AC81A423}"/>
                </a:ext>
              </a:extLst>
            </p:cNvPr>
            <p:cNvSpPr txBox="1"/>
            <p:nvPr/>
          </p:nvSpPr>
          <p:spPr>
            <a:xfrm>
              <a:off x="3681231" y="4392230"/>
              <a:ext cx="15317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Globaltrans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76CF317-8F68-B2F1-3D06-2EF2070A04BC}"/>
                </a:ext>
              </a:extLst>
            </p:cNvPr>
            <p:cNvSpPr/>
            <p:nvPr/>
          </p:nvSpPr>
          <p:spPr>
            <a:xfrm>
              <a:off x="4015760" y="5026566"/>
              <a:ext cx="892562" cy="892562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9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9B66BC15-C7C9-BCAE-95C9-423B050F9920}"/>
              </a:ext>
            </a:extLst>
          </p:cNvPr>
          <p:cNvSpPr txBox="1"/>
          <p:nvPr/>
        </p:nvSpPr>
        <p:spPr>
          <a:xfrm>
            <a:off x="874241" y="354965"/>
            <a:ext cx="9254762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defTabSz="9144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ТОП АКЦИЙ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Montserrat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E2ADEA8-4F61-C7FC-EE26-6DCF647DE310}"/>
              </a:ext>
            </a:extLst>
          </p:cNvPr>
          <p:cNvGrpSpPr/>
          <p:nvPr/>
        </p:nvGrpSpPr>
        <p:grpSpPr>
          <a:xfrm>
            <a:off x="1072149" y="4330009"/>
            <a:ext cx="2565510" cy="1773616"/>
            <a:chOff x="1072149" y="4392230"/>
            <a:chExt cx="2565510" cy="1773616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DF67F82-5B8D-EF69-7B3C-8AF8E01550E9}"/>
                </a:ext>
              </a:extLst>
            </p:cNvPr>
            <p:cNvSpPr txBox="1"/>
            <p:nvPr/>
          </p:nvSpPr>
          <p:spPr>
            <a:xfrm>
              <a:off x="1072149" y="4392230"/>
              <a:ext cx="256551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Solidcore</a:t>
              </a:r>
              <a:endParaRPr lang="en-US" sz="140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D2D685B-956E-9715-3DAA-413C293BF497}"/>
                </a:ext>
              </a:extLst>
            </p:cNvPr>
            <p:cNvSpPr/>
            <p:nvPr/>
          </p:nvSpPr>
          <p:spPr>
            <a:xfrm>
              <a:off x="1657588" y="4779846"/>
              <a:ext cx="1386001" cy="13860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41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8442141-8B95-0128-96BF-BD20A5844569}"/>
              </a:ext>
            </a:extLst>
          </p:cNvPr>
          <p:cNvGrpSpPr/>
          <p:nvPr/>
        </p:nvGrpSpPr>
        <p:grpSpPr>
          <a:xfrm>
            <a:off x="4051676" y="4330009"/>
            <a:ext cx="1531706" cy="1620617"/>
            <a:chOff x="5557620" y="4392230"/>
            <a:chExt cx="1531706" cy="162061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A0E6700-CCD9-0F53-7BA8-111F907DC612}"/>
                </a:ext>
              </a:extLst>
            </p:cNvPr>
            <p:cNvSpPr txBox="1"/>
            <p:nvPr/>
          </p:nvSpPr>
          <p:spPr>
            <a:xfrm>
              <a:off x="5557620" y="4392230"/>
              <a:ext cx="153170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>
                  <a:latin typeface="Montserrat" panose="00000500000000000000" pitchFamily="2" charset="-52"/>
                  <a:cs typeface="Mongolian Baiti" panose="03000500000000000000" pitchFamily="66" charset="0"/>
                </a:rPr>
                <a:t>Air Astana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F959469-4747-9E14-9895-BDBF7B7FE1B9}"/>
                </a:ext>
              </a:extLst>
            </p:cNvPr>
            <p:cNvSpPr/>
            <p:nvPr/>
          </p:nvSpPr>
          <p:spPr>
            <a:xfrm>
              <a:off x="5783473" y="4932847"/>
              <a:ext cx="1080000" cy="10800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18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</p:grpSp>
      <p:sp>
        <p:nvSpPr>
          <p:cNvPr id="30" name="Rectangle 11">
            <a:extLst>
              <a:ext uri="{FF2B5EF4-FFF2-40B4-BE49-F238E27FC236}">
                <a16:creationId xmlns:a16="http://schemas.microsoft.com/office/drawing/2014/main" id="{AB769B3F-1768-C55B-7217-2665EE0D7B72}"/>
              </a:ext>
            </a:extLst>
          </p:cNvPr>
          <p:cNvSpPr/>
          <p:nvPr/>
        </p:nvSpPr>
        <p:spPr>
          <a:xfrm>
            <a:off x="874241" y="4022697"/>
            <a:ext cx="10443518" cy="216291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11">
            <a:extLst>
              <a:ext uri="{FF2B5EF4-FFF2-40B4-BE49-F238E27FC236}">
                <a16:creationId xmlns:a16="http://schemas.microsoft.com/office/drawing/2014/main" id="{C7874395-7D1F-3C4A-741F-D96F0E0F4E78}"/>
              </a:ext>
            </a:extLst>
          </p:cNvPr>
          <p:cNvSpPr/>
          <p:nvPr/>
        </p:nvSpPr>
        <p:spPr>
          <a:xfrm>
            <a:off x="874241" y="1209024"/>
            <a:ext cx="10443518" cy="2280552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62B716A-92F8-38FF-BBE2-3F91B64FA205}"/>
              </a:ext>
            </a:extLst>
          </p:cNvPr>
          <p:cNvGrpSpPr/>
          <p:nvPr/>
        </p:nvGrpSpPr>
        <p:grpSpPr>
          <a:xfrm>
            <a:off x="7754052" y="4330009"/>
            <a:ext cx="1482238" cy="1531831"/>
            <a:chOff x="7170348" y="4392230"/>
            <a:chExt cx="1482238" cy="1531831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A77129F-0CEE-7351-EC4A-9321C484638E}"/>
                </a:ext>
              </a:extLst>
            </p:cNvPr>
            <p:cNvSpPr/>
            <p:nvPr/>
          </p:nvSpPr>
          <p:spPr>
            <a:xfrm>
              <a:off x="7449706" y="5052861"/>
              <a:ext cx="871200" cy="8712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2628">
                <a:defRPr/>
              </a:pPr>
              <a:r>
                <a:rPr lang="ru-RU" sz="11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8,5</a:t>
              </a:r>
              <a:r>
                <a:rPr lang="en-US" sz="11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59BE8AB-FD6E-1DB3-FFF1-D53DE4C2F007}"/>
                </a:ext>
              </a:extLst>
            </p:cNvPr>
            <p:cNvSpPr txBox="1"/>
            <p:nvPr/>
          </p:nvSpPr>
          <p:spPr>
            <a:xfrm>
              <a:off x="7170348" y="4392230"/>
              <a:ext cx="148223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МунайГаз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0DEE934-C260-F5FD-9242-6CBB3CF2FE50}"/>
              </a:ext>
            </a:extLst>
          </p:cNvPr>
          <p:cNvGrpSpPr/>
          <p:nvPr/>
        </p:nvGrpSpPr>
        <p:grpSpPr>
          <a:xfrm>
            <a:off x="9188912" y="4330009"/>
            <a:ext cx="1936591" cy="1476616"/>
            <a:chOff x="8337740" y="4392230"/>
            <a:chExt cx="1936591" cy="1476616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1B76418E-E0A3-2871-3BA1-41DE1238C80A}"/>
                </a:ext>
              </a:extLst>
            </p:cNvPr>
            <p:cNvSpPr/>
            <p:nvPr/>
          </p:nvSpPr>
          <p:spPr>
            <a:xfrm>
              <a:off x="8908191" y="5076846"/>
              <a:ext cx="792000" cy="792000"/>
            </a:xfrm>
            <a:prstGeom prst="ellipse">
              <a:avLst/>
            </a:prstGeom>
            <a:solidFill>
              <a:srgbClr val="00245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2628">
                <a:defRPr/>
              </a:pPr>
              <a:r>
                <a:rPr lang="ru-RU" sz="11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6</a:t>
              </a:r>
              <a:r>
                <a:rPr lang="en-US" sz="11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71F7A4F-6454-C2B9-7580-B73CCF50DB3A}"/>
                </a:ext>
              </a:extLst>
            </p:cNvPr>
            <p:cNvSpPr txBox="1"/>
            <p:nvPr/>
          </p:nvSpPr>
          <p:spPr>
            <a:xfrm>
              <a:off x="8337740" y="4392230"/>
              <a:ext cx="193659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атомпром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9946787-6442-0693-ADAF-601B9C7405B0}"/>
              </a:ext>
            </a:extLst>
          </p:cNvPr>
          <p:cNvCxnSpPr>
            <a:cxnSpLocks/>
          </p:cNvCxnSpPr>
          <p:nvPr/>
        </p:nvCxnSpPr>
        <p:spPr>
          <a:xfrm>
            <a:off x="874240" y="6490073"/>
            <a:ext cx="10443518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30E2F78A-EA61-40A0-1BB0-54FD07BA09E5}"/>
              </a:ext>
            </a:extLst>
          </p:cNvPr>
          <p:cNvSpPr txBox="1"/>
          <p:nvPr/>
        </p:nvSpPr>
        <p:spPr>
          <a:xfrm>
            <a:off x="874240" y="6502895"/>
            <a:ext cx="4938158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*</a:t>
            </a:r>
            <a:r>
              <a:rPr lang="ru-RU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Доля от общего объема торгов (акции + </a:t>
            </a:r>
            <a:r>
              <a:rPr lang="en-US" sz="900" dirty="0">
                <a:latin typeface="Montserrat" panose="00000500000000000000" pitchFamily="2" charset="-52"/>
                <a:cs typeface="Mongolian Baiti" panose="03000500000000000000" pitchFamily="66" charset="0"/>
              </a:rPr>
              <a:t>GDR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C86396-4F86-1732-0471-1555F40E1CD5}"/>
              </a:ext>
            </a:extLst>
          </p:cNvPr>
          <p:cNvSpPr txBox="1"/>
          <p:nvPr/>
        </p:nvSpPr>
        <p:spPr>
          <a:xfrm>
            <a:off x="1115790" y="1065010"/>
            <a:ext cx="581841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>
                <a:latin typeface="Montserrat" panose="00000500000000000000" pitchFamily="2" charset="-52"/>
                <a:cs typeface="Mongolian Baiti" panose="03000500000000000000" pitchFamily="66" charset="0"/>
              </a:rPr>
              <a:t>ТОП АКЦИЙ С НАИБОЛЬШИМ ПРИРОСТОМ СТОИМОСТИ</a:t>
            </a:r>
            <a:endParaRPr lang="en-US" sz="140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CAA36C-DDBB-830A-C302-8A858D3E8B29}"/>
              </a:ext>
            </a:extLst>
          </p:cNvPr>
          <p:cNvSpPr txBox="1"/>
          <p:nvPr/>
        </p:nvSpPr>
        <p:spPr>
          <a:xfrm>
            <a:off x="1115790" y="3878682"/>
            <a:ext cx="4808760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latin typeface="Montserrat" panose="00000500000000000000" pitchFamily="2" charset="-52"/>
                <a:cs typeface="Mongolian Baiti" panose="03000500000000000000" pitchFamily="66" charset="0"/>
              </a:rPr>
              <a:t>ТОП-5 САМЫХ ТОРГУЕМЫХ АКЦИЙ*</a:t>
            </a:r>
            <a:endParaRPr lang="en-US" sz="1400" dirty="0">
              <a:latin typeface="Montserrat" panose="00000500000000000000" pitchFamily="2" charset="-52"/>
              <a:cs typeface="Mongolian Baiti" panose="03000500000000000000" pitchFamily="66" charset="0"/>
            </a:endParaRPr>
          </a:p>
        </p:txBody>
      </p:sp>
      <p:grpSp>
        <p:nvGrpSpPr>
          <p:cNvPr id="10" name="Group 42">
            <a:extLst>
              <a:ext uri="{FF2B5EF4-FFF2-40B4-BE49-F238E27FC236}">
                <a16:creationId xmlns:a16="http://schemas.microsoft.com/office/drawing/2014/main" id="{FA89F92D-050A-5774-974A-98CC18E2D50D}"/>
              </a:ext>
            </a:extLst>
          </p:cNvPr>
          <p:cNvGrpSpPr/>
          <p:nvPr/>
        </p:nvGrpSpPr>
        <p:grpSpPr>
          <a:xfrm>
            <a:off x="1072149" y="1489610"/>
            <a:ext cx="2565510" cy="1792979"/>
            <a:chOff x="1072149" y="1496059"/>
            <a:chExt cx="2565510" cy="179297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D6F066C-7E5F-3642-7FCD-7414BCFA6221}"/>
                </a:ext>
              </a:extLst>
            </p:cNvPr>
            <p:cNvSpPr txBox="1"/>
            <p:nvPr/>
          </p:nvSpPr>
          <p:spPr>
            <a:xfrm>
              <a:off x="1072149" y="1496059"/>
              <a:ext cx="256551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Freedom Corp.</a:t>
              </a:r>
            </a:p>
          </p:txBody>
        </p:sp>
        <p:sp>
          <p:nvSpPr>
            <p:cNvPr id="14" name="Oval 44">
              <a:extLst>
                <a:ext uri="{FF2B5EF4-FFF2-40B4-BE49-F238E27FC236}">
                  <a16:creationId xmlns:a16="http://schemas.microsoft.com/office/drawing/2014/main" id="{DE17CCEB-24AB-C639-6423-8DB0648F92E9}"/>
                </a:ext>
              </a:extLst>
            </p:cNvPr>
            <p:cNvSpPr/>
            <p:nvPr/>
          </p:nvSpPr>
          <p:spPr>
            <a:xfrm>
              <a:off x="1657588" y="1903038"/>
              <a:ext cx="1386000" cy="1386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</a:t>
              </a: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30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%</a:t>
              </a:r>
            </a:p>
          </p:txBody>
        </p:sp>
      </p:grpSp>
      <p:grpSp>
        <p:nvGrpSpPr>
          <p:cNvPr id="15" name="Group 45">
            <a:extLst>
              <a:ext uri="{FF2B5EF4-FFF2-40B4-BE49-F238E27FC236}">
                <a16:creationId xmlns:a16="http://schemas.microsoft.com/office/drawing/2014/main" id="{D6BDF89A-5CCD-E4A9-B4F3-8C375A918294}"/>
              </a:ext>
            </a:extLst>
          </p:cNvPr>
          <p:cNvGrpSpPr/>
          <p:nvPr/>
        </p:nvGrpSpPr>
        <p:grpSpPr>
          <a:xfrm>
            <a:off x="3696243" y="1489610"/>
            <a:ext cx="2242572" cy="1753379"/>
            <a:chOff x="3294217" y="1496059"/>
            <a:chExt cx="2242572" cy="175337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DD4868F-415A-0E30-0561-05501135113B}"/>
                </a:ext>
              </a:extLst>
            </p:cNvPr>
            <p:cNvSpPr txBox="1"/>
            <p:nvPr/>
          </p:nvSpPr>
          <p:spPr>
            <a:xfrm>
              <a:off x="3294217" y="1496059"/>
              <a:ext cx="224257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Halyk Bank</a:t>
              </a:r>
            </a:p>
          </p:txBody>
        </p:sp>
        <p:sp>
          <p:nvSpPr>
            <p:cNvPr id="17" name="Oval 47">
              <a:extLst>
                <a:ext uri="{FF2B5EF4-FFF2-40B4-BE49-F238E27FC236}">
                  <a16:creationId xmlns:a16="http://schemas.microsoft.com/office/drawing/2014/main" id="{8BB79770-0F41-2DF3-47F9-C49B4773161C}"/>
                </a:ext>
              </a:extLst>
            </p:cNvPr>
            <p:cNvSpPr/>
            <p:nvPr/>
          </p:nvSpPr>
          <p:spPr>
            <a:xfrm>
              <a:off x="3762103" y="1942638"/>
              <a:ext cx="1306800" cy="13068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</a:t>
              </a: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12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,4%</a:t>
              </a:r>
            </a:p>
          </p:txBody>
        </p:sp>
      </p:grpSp>
      <p:grpSp>
        <p:nvGrpSpPr>
          <p:cNvPr id="18" name="Group 48">
            <a:extLst>
              <a:ext uri="{FF2B5EF4-FFF2-40B4-BE49-F238E27FC236}">
                <a16:creationId xmlns:a16="http://schemas.microsoft.com/office/drawing/2014/main" id="{19C6A34F-F8E0-5F16-6BD3-70EE9759B837}"/>
              </a:ext>
            </a:extLst>
          </p:cNvPr>
          <p:cNvGrpSpPr/>
          <p:nvPr/>
        </p:nvGrpSpPr>
        <p:grpSpPr>
          <a:xfrm>
            <a:off x="5699014" y="1489610"/>
            <a:ext cx="2049058" cy="1630979"/>
            <a:chOff x="5287351" y="1496059"/>
            <a:chExt cx="2049058" cy="163097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EA4D11D-15AF-5F8D-CECA-A747B593D9F0}"/>
                </a:ext>
              </a:extLst>
            </p:cNvPr>
            <p:cNvSpPr txBox="1"/>
            <p:nvPr/>
          </p:nvSpPr>
          <p:spPr>
            <a:xfrm>
              <a:off x="5287351" y="1496059"/>
              <a:ext cx="204905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Казатомпром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  <p:sp>
          <p:nvSpPr>
            <p:cNvPr id="21" name="Oval 50">
              <a:extLst>
                <a:ext uri="{FF2B5EF4-FFF2-40B4-BE49-F238E27FC236}">
                  <a16:creationId xmlns:a16="http://schemas.microsoft.com/office/drawing/2014/main" id="{FEB9B801-EDB1-D269-7612-3BC9179F48A3}"/>
                </a:ext>
              </a:extLst>
            </p:cNvPr>
            <p:cNvSpPr/>
            <p:nvPr/>
          </p:nvSpPr>
          <p:spPr>
            <a:xfrm>
              <a:off x="5820997" y="2101038"/>
              <a:ext cx="1025059" cy="1026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2628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9,2%</a:t>
              </a:r>
            </a:p>
          </p:txBody>
        </p:sp>
      </p:grpSp>
      <p:grpSp>
        <p:nvGrpSpPr>
          <p:cNvPr id="23" name="Group 51">
            <a:extLst>
              <a:ext uri="{FF2B5EF4-FFF2-40B4-BE49-F238E27FC236}">
                <a16:creationId xmlns:a16="http://schemas.microsoft.com/office/drawing/2014/main" id="{D288F4B8-0F73-186E-13FB-CF4AC438CDEE}"/>
              </a:ext>
            </a:extLst>
          </p:cNvPr>
          <p:cNvGrpSpPr/>
          <p:nvPr/>
        </p:nvGrpSpPr>
        <p:grpSpPr>
          <a:xfrm>
            <a:off x="7473701" y="1499424"/>
            <a:ext cx="1949432" cy="1569325"/>
            <a:chOff x="6987768" y="1494846"/>
            <a:chExt cx="1949432" cy="1569325"/>
          </a:xfrm>
        </p:grpSpPr>
        <p:sp>
          <p:nvSpPr>
            <p:cNvPr id="24" name="Oval 52">
              <a:extLst>
                <a:ext uri="{FF2B5EF4-FFF2-40B4-BE49-F238E27FC236}">
                  <a16:creationId xmlns:a16="http://schemas.microsoft.com/office/drawing/2014/main" id="{9741CBEE-37A6-CA76-08AD-1E7F5D63011A}"/>
                </a:ext>
              </a:extLst>
            </p:cNvPr>
            <p:cNvSpPr/>
            <p:nvPr/>
          </p:nvSpPr>
          <p:spPr>
            <a:xfrm>
              <a:off x="7535666" y="2105851"/>
              <a:ext cx="958320" cy="95832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2628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8</a:t>
              </a: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,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6%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6494AFF-7691-24B3-C087-7E6F177F098D}"/>
                </a:ext>
              </a:extLst>
            </p:cNvPr>
            <p:cNvSpPr txBox="1"/>
            <p:nvPr/>
          </p:nvSpPr>
          <p:spPr>
            <a:xfrm>
              <a:off x="6987768" y="1494846"/>
              <a:ext cx="19494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latin typeface="Montserrat" panose="00000500000000000000" pitchFamily="2" charset="-52"/>
                  <a:cs typeface="Mongolian Baiti" panose="03000500000000000000" pitchFamily="66" charset="0"/>
                </a:rPr>
                <a:t>Банк ЦентрКредит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  <p:grpSp>
        <p:nvGrpSpPr>
          <p:cNvPr id="26" name="Group 1">
            <a:extLst>
              <a:ext uri="{FF2B5EF4-FFF2-40B4-BE49-F238E27FC236}">
                <a16:creationId xmlns:a16="http://schemas.microsoft.com/office/drawing/2014/main" id="{4D80AF8F-7A66-07A6-5EEC-A09AB8339F89}"/>
              </a:ext>
            </a:extLst>
          </p:cNvPr>
          <p:cNvGrpSpPr/>
          <p:nvPr/>
        </p:nvGrpSpPr>
        <p:grpSpPr>
          <a:xfrm>
            <a:off x="9230525" y="1499424"/>
            <a:ext cx="1853365" cy="1453765"/>
            <a:chOff x="7082556" y="1494846"/>
            <a:chExt cx="1853365" cy="1453765"/>
          </a:xfrm>
        </p:grpSpPr>
        <p:sp>
          <p:nvSpPr>
            <p:cNvPr id="27" name="Oval 2">
              <a:extLst>
                <a:ext uri="{FF2B5EF4-FFF2-40B4-BE49-F238E27FC236}">
                  <a16:creationId xmlns:a16="http://schemas.microsoft.com/office/drawing/2014/main" id="{FE71BC13-8269-9124-132E-63ABD8B0C1E6}"/>
                </a:ext>
              </a:extLst>
            </p:cNvPr>
            <p:cNvSpPr/>
            <p:nvPr/>
          </p:nvSpPr>
          <p:spPr>
            <a:xfrm>
              <a:off x="7584626" y="2156611"/>
              <a:ext cx="792000" cy="792000"/>
            </a:xfrm>
            <a:prstGeom prst="ellipse">
              <a:avLst/>
            </a:prstGeom>
            <a:solidFill>
              <a:srgbClr val="008EA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2628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+6</a:t>
              </a:r>
              <a:r>
                <a:rPr lang="ru-RU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,</a:t>
              </a:r>
              <a:r>
                <a:rPr lang="en-US" sz="1200" b="1" dirty="0">
                  <a:solidFill>
                    <a:schemeClr val="bg1"/>
                  </a:solidFill>
                  <a:latin typeface="Montserrat" panose="00000500000000000000" pitchFamily="2" charset="-52"/>
                  <a:cs typeface="Mongolian Baiti" panose="03000500000000000000" pitchFamily="66" charset="0"/>
                </a:rPr>
                <a:t>2%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92F111B-E474-A3DA-31E6-555CFD0512B3}"/>
                </a:ext>
              </a:extLst>
            </p:cNvPr>
            <p:cNvSpPr txBox="1"/>
            <p:nvPr/>
          </p:nvSpPr>
          <p:spPr>
            <a:xfrm>
              <a:off x="7082556" y="1494846"/>
              <a:ext cx="185336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err="1">
                  <a:latin typeface="Montserrat" panose="00000500000000000000" pitchFamily="2" charset="-52"/>
                  <a:cs typeface="Mongolian Baiti" panose="03000500000000000000" pitchFamily="66" charset="0"/>
                </a:rPr>
                <a:t>Globaltrans</a:t>
              </a:r>
              <a:endParaRPr lang="en-US" sz="1400" dirty="0">
                <a:latin typeface="Montserrat" panose="00000500000000000000" pitchFamily="2" charset="-52"/>
                <a:cs typeface="Mongolian Baiti" panose="03000500000000000000" pitchFamily="66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089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rgbClr val="002554"/>
      </a:dk1>
      <a:lt1>
        <a:srgbClr val="002554"/>
      </a:lt1>
      <a:dk2>
        <a:srgbClr val="A7A7A7"/>
      </a:dk2>
      <a:lt2>
        <a:srgbClr val="535353"/>
      </a:lt2>
      <a:accent1>
        <a:srgbClr val="007680"/>
      </a:accent1>
      <a:accent2>
        <a:srgbClr val="890C58"/>
      </a:accent2>
      <a:accent3>
        <a:srgbClr val="0047BB"/>
      </a:accent3>
      <a:accent4>
        <a:srgbClr val="D50032"/>
      </a:accent4>
      <a:accent5>
        <a:srgbClr val="00A9E0"/>
      </a:accent5>
      <a:accent6>
        <a:srgbClr val="009A44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554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2554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2554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IFC TEMPLATE_V5" id="{99FBD6E4-0972-4B16-BD1A-374563375670}" vid="{3949DDFF-4825-4C43-AF0F-5EA25C5BF613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26707f67-414b-46ca-9a04-8c503be1047b}" enabled="1" method="Standard" siteId="{1bf47948-c1be-432d-8804-07eb905182f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26</TotalTime>
  <Words>1660</Words>
  <Application>Microsoft Office PowerPoint</Application>
  <PresentationFormat>Широкоэкранный</PresentationFormat>
  <Paragraphs>341</Paragraphs>
  <Slides>1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Montserrat</vt:lpstr>
      <vt:lpstr>Montserrat ExtraLight</vt:lpstr>
      <vt:lpstr>Segoe UI</vt:lpstr>
      <vt:lpstr>Wingdings</vt:lpstr>
      <vt:lpstr>Office Theme</vt:lpstr>
      <vt:lpstr>2_Office Theme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tair Bekturov</dc:creator>
  <cp:lastModifiedBy>Timur Karimsakov</cp:lastModifiedBy>
  <cp:revision>1</cp:revision>
  <dcterms:created xsi:type="dcterms:W3CDTF">2023-08-17T05:14:06Z</dcterms:created>
  <dcterms:modified xsi:type="dcterms:W3CDTF">2025-01-05T10:1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d44f3f8-b957-4663-b91e-426018f7b4e3_Enabled">
    <vt:lpwstr>true</vt:lpwstr>
  </property>
  <property fmtid="{D5CDD505-2E9C-101B-9397-08002B2CF9AE}" pid="3" name="MSIP_Label_9d44f3f8-b957-4663-b91e-426018f7b4e3_SetDate">
    <vt:lpwstr>2024-02-21T10:55:42Z</vt:lpwstr>
  </property>
  <property fmtid="{D5CDD505-2E9C-101B-9397-08002B2CF9AE}" pid="4" name="MSIP_Label_9d44f3f8-b957-4663-b91e-426018f7b4e3_Method">
    <vt:lpwstr>Privileged</vt:lpwstr>
  </property>
  <property fmtid="{D5CDD505-2E9C-101B-9397-08002B2CF9AE}" pid="5" name="MSIP_Label_9d44f3f8-b957-4663-b91e-426018f7b4e3_Name">
    <vt:lpwstr>Public</vt:lpwstr>
  </property>
  <property fmtid="{D5CDD505-2E9C-101B-9397-08002B2CF9AE}" pid="6" name="MSIP_Label_9d44f3f8-b957-4663-b91e-426018f7b4e3_SiteId">
    <vt:lpwstr>6935c45f-770f-4fe2-b7eb-93bc25054a9d</vt:lpwstr>
  </property>
  <property fmtid="{D5CDD505-2E9C-101B-9397-08002B2CF9AE}" pid="7" name="MSIP_Label_9d44f3f8-b957-4663-b91e-426018f7b4e3_ActionId">
    <vt:lpwstr>fd4bfca6-7136-47bc-9da3-ac3c995a9cdf</vt:lpwstr>
  </property>
  <property fmtid="{D5CDD505-2E9C-101B-9397-08002B2CF9AE}" pid="8" name="MSIP_Label_9d44f3f8-b957-4663-b91e-426018f7b4e3_ContentBits">
    <vt:lpwstr>0</vt:lpwstr>
  </property>
</Properties>
</file>